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embeddings/oleObject1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embeddings/oleObject2.bin" ContentType="application/vnd.openxmlformats-officedocument.oleObject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embeddings/oleObject4.bin" ContentType="application/vnd.openxmlformats-officedocument.oleObject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embeddings/oleObject8.bin" ContentType="application/vnd.openxmlformats-officedocument.oleObject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embeddings/oleObject9.bin" ContentType="application/vnd.openxmlformats-officedocument.oleObject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embeddings/oleObject10.bin" ContentType="application/vnd.openxmlformats-officedocument.oleObject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embeddings/oleObject13.bin" ContentType="application/vnd.openxmlformats-officedocument.oleObject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comments/comment1.xml" ContentType="application/vnd.openxmlformats-officedocument.presentationml.comment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embeddings/oleObject14.bin" ContentType="application/vnd.openxmlformats-officedocument.oleObject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962" r:id="rId2"/>
    <p:sldId id="961" r:id="rId3"/>
    <p:sldId id="951" r:id="rId4"/>
    <p:sldId id="952" r:id="rId5"/>
    <p:sldId id="959" r:id="rId6"/>
    <p:sldId id="953" r:id="rId7"/>
    <p:sldId id="945" r:id="rId8"/>
    <p:sldId id="954" r:id="rId9"/>
    <p:sldId id="960" r:id="rId10"/>
    <p:sldId id="943" r:id="rId11"/>
    <p:sldId id="955" r:id="rId12"/>
    <p:sldId id="958" r:id="rId13"/>
  </p:sldIdLst>
  <p:sldSz cx="9144000" cy="6858000" type="screen4x3"/>
  <p:notesSz cx="7010400" cy="92964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jesh Sreenivasan" initials="RS" lastIdx="1" clrIdx="0"/>
  <p:cmAuthor id="1" name="Al-Habeeb" initials="A" lastIdx="1" clrIdx="1"/>
  <p:cmAuthor id="2" name="Veena Sunil Krishna" initials="VSK" lastIdx="0" clrIdx="2"/>
  <p:cmAuthor id="3" name="Jiju Ravikumar" initials="JR" lastIdx="4" clrIdx="3"/>
  <p:cmAuthor id="4" name="Rajkumar Raveendran" initials="RR" lastIdx="1" clrIdx="4"/>
  <p:cmAuthor id="5" name="Rakesh P Kumar" initials="RPK" lastIdx="11" clrIdx="5"/>
  <p:cmAuthor id="6" name="Anna Mnatsakanyan" initials="AM" lastIdx="1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E26C00"/>
    <a:srgbClr val="D66600"/>
    <a:srgbClr val="FF7A01"/>
    <a:srgbClr val="CC0035"/>
    <a:srgbClr val="808080"/>
    <a:srgbClr val="FF9933"/>
    <a:srgbClr val="DBA215"/>
    <a:srgbClr val="0065CC"/>
    <a:srgbClr val="91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4" autoAdjust="0"/>
    <p:restoredTop sz="70216" autoAdjust="0"/>
  </p:normalViewPr>
  <p:slideViewPr>
    <p:cSldViewPr snapToGrid="0">
      <p:cViewPr>
        <p:scale>
          <a:sx n="110" d="100"/>
          <a:sy n="110" d="100"/>
        </p:scale>
        <p:origin x="-1240" y="-80"/>
      </p:cViewPr>
      <p:guideLst>
        <p:guide orient="horz" pos="858"/>
        <p:guide pos="108"/>
        <p:guide pos="56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2" d="100"/>
          <a:sy n="72" d="100"/>
        </p:scale>
        <p:origin x="-2238" y="-96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6" dt="2013-10-04T16:59:35.188" idx="1">
    <p:pos x="731" y="4096"/>
    <p:text>2-րդ կետը հանել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9.emf"/><Relationship Id="rId3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ltGray">
          <a:xfrm>
            <a:off x="779463" y="584200"/>
            <a:ext cx="5451475" cy="4089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ltGray">
          <a:xfrm>
            <a:off x="483541" y="4995329"/>
            <a:ext cx="604333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indent="0" eaLnBrk="1" hangingPunct="1"/>
            <a:r>
              <a:rPr lang="en-US" noProof="0" dirty="0" smtClean="0"/>
              <a:t>Click to edit Master text styles</a:t>
            </a:r>
          </a:p>
          <a:p>
            <a:pPr marL="263965" lvl="1" indent="-262357" eaLnBrk="1" hangingPunct="1">
              <a:buSzPct val="100000"/>
              <a:buFont typeface="Wingdings" pitchFamily="2" charset="2"/>
              <a:buChar char="Ø"/>
            </a:pPr>
            <a:r>
              <a:rPr lang="en-US" noProof="0" dirty="0" smtClean="0"/>
              <a:t>Second level</a:t>
            </a:r>
          </a:p>
          <a:p>
            <a:pPr marL="471596" lvl="2" indent="-206021" eaLnBrk="1" hangingPunct="1">
              <a:buSzPct val="130000"/>
              <a:buFont typeface="Arial" pitchFamily="34" charset="0"/>
              <a:buChar char="▪"/>
            </a:pPr>
            <a:r>
              <a:rPr lang="en-US" noProof="0" dirty="0" smtClean="0"/>
              <a:t>Third level</a:t>
            </a:r>
          </a:p>
          <a:p>
            <a:pPr marL="700152" lvl="3" indent="-228554" eaLnBrk="1" hangingPunct="1">
              <a:buSzPct val="80000"/>
              <a:buFont typeface="Wingdings" pitchFamily="2" charset="2"/>
              <a:buChar char="Ø"/>
            </a:pPr>
            <a:r>
              <a:rPr lang="en-US" noProof="0" dirty="0" smtClean="0"/>
              <a:t>Fourth level</a:t>
            </a:r>
          </a:p>
          <a:p>
            <a:pPr marL="877202" lvl="4" indent="-177050" eaLnBrk="1" hangingPunct="1">
              <a:buSzPct val="100000"/>
              <a:buFont typeface="Arial" pitchFamily="34" charset="0"/>
              <a:buChar char="▪"/>
            </a:pPr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ltGray">
          <a:xfrm>
            <a:off x="6369783" y="8959273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ltGray">
          <a:xfrm>
            <a:off x="6526815" y="9590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85813" y="8959273"/>
            <a:ext cx="141064" cy="153888"/>
          </a:xfrm>
          <a:ln/>
        </p:spPr>
        <p:txBody>
          <a:bodyPr/>
          <a:lstStyle/>
          <a:p>
            <a:fld id="{CF63CC6E-3882-4694-B835-6901B3C07D7C}" type="slidenum">
              <a:rPr lang="en-US"/>
              <a:pPr/>
              <a:t>11</a:t>
            </a:fld>
            <a:endParaRPr lang="en-US"/>
          </a:p>
        </p:txBody>
      </p:sp>
      <p:sp>
        <p:nvSpPr>
          <p:cNvPr id="305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5813" y="581025"/>
            <a:ext cx="5456237" cy="4092575"/>
          </a:xfrm>
          <a:ln/>
        </p:spPr>
      </p:sp>
      <p:sp>
        <p:nvSpPr>
          <p:cNvPr id="305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6049" y="4992347"/>
            <a:ext cx="5975672" cy="246221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1.emf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Relationship Id="rId3" Type="http://schemas.openxmlformats.org/officeDocument/2006/relationships/tags" Target="../tags/tag32.xml"/><Relationship Id="rId4" Type="http://schemas.openxmlformats.org/officeDocument/2006/relationships/tags" Target="../tags/tag33.xml"/><Relationship Id="rId5" Type="http://schemas.openxmlformats.org/officeDocument/2006/relationships/tags" Target="../tags/tag34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9" Type="http://schemas.openxmlformats.org/officeDocument/2006/relationships/tags" Target="../tags/tag38.xml"/><Relationship Id="rId10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2960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10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10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8385" y="277017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8385" y="435752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Last Modified 04.10.2013 16:12 W. Europe Standard Time</a:t>
            </a:r>
            <a:endParaRPr lang="en-US" sz="900" baseline="0" noProof="0" dirty="0" smtClean="0"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8385" y="596108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Printed 20.09.2013 08:47 W. Europe Standard Time</a:t>
            </a:r>
            <a:endParaRPr lang="en-US" sz="900" baseline="0" noProof="0" dirty="0" smtClean="0"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548385" y="5441965"/>
            <a:ext cx="5036084" cy="607404"/>
            <a:chOff x="1663" y="3071"/>
            <a:chExt cx="3109" cy="37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71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  <p:custDataLst>
              <p:tags r:id="rId7"/>
            </p:custDataLst>
          </p:nvPr>
        </p:nvSpPr>
        <p:spPr bwMode="auto">
          <a:xfrm>
            <a:off x="548385" y="2834237"/>
            <a:ext cx="6299200" cy="5078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300" b="1" baseline="0"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  <p:custDataLst>
              <p:tags r:id="rId8"/>
            </p:custDataLst>
          </p:nvPr>
        </p:nvSpPr>
        <p:spPr bwMode="auto">
          <a:xfrm>
            <a:off x="548385" y="3513682"/>
            <a:ext cx="6299200" cy="369332"/>
          </a:xfrm>
        </p:spPr>
        <p:txBody>
          <a:bodyPr>
            <a:spAutoFit/>
          </a:bodyPr>
          <a:lstStyle>
            <a:lvl1pPr>
              <a:defRPr sz="2400" baseline="0">
                <a:latin typeface="Arial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0" name="Line 4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548385" y="3427875"/>
            <a:ext cx="6299200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800" dirty="0">
              <a:latin typeface="Arial"/>
              <a:sym typeface="Arial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298443" y="1820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Arial"/>
              <a:ea typeface="+mn-ea"/>
              <a:sym typeface="Arial"/>
            </a:endParaRPr>
          </a:p>
        </p:txBody>
      </p:sp>
      <p:sp>
        <p:nvSpPr>
          <p:cNvPr id="25" name="SlideBottomBa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baseline="0" noProof="0" dirty="0">
              <a:latin typeface="Arial"/>
              <a:ea typeface="+mn-ea"/>
              <a:sym typeface="Arial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4" b="27059"/>
          <a:stretch/>
        </p:blipFill>
        <p:spPr>
          <a:xfrm>
            <a:off x="7445057" y="168824"/>
            <a:ext cx="1524000" cy="67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6268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7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7.xml"/><Relationship Id="rId21" Type="http://schemas.openxmlformats.org/officeDocument/2006/relationships/tags" Target="../tags/tag18.xml"/><Relationship Id="rId22" Type="http://schemas.openxmlformats.org/officeDocument/2006/relationships/tags" Target="../tags/tag19.xml"/><Relationship Id="rId23" Type="http://schemas.openxmlformats.org/officeDocument/2006/relationships/tags" Target="../tags/tag20.xml"/><Relationship Id="rId24" Type="http://schemas.openxmlformats.org/officeDocument/2006/relationships/tags" Target="../tags/tag21.xml"/><Relationship Id="rId25" Type="http://schemas.openxmlformats.org/officeDocument/2006/relationships/tags" Target="../tags/tag22.xml"/><Relationship Id="rId26" Type="http://schemas.openxmlformats.org/officeDocument/2006/relationships/tags" Target="../tags/tag23.xml"/><Relationship Id="rId27" Type="http://schemas.openxmlformats.org/officeDocument/2006/relationships/tags" Target="../tags/tag24.xml"/><Relationship Id="rId28" Type="http://schemas.openxmlformats.org/officeDocument/2006/relationships/tags" Target="../tags/tag25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30" Type="http://schemas.openxmlformats.org/officeDocument/2006/relationships/tags" Target="../tags/tag27.xml"/><Relationship Id="rId31" Type="http://schemas.openxmlformats.org/officeDocument/2006/relationships/tags" Target="../tags/tag28.xml"/><Relationship Id="rId32" Type="http://schemas.openxmlformats.org/officeDocument/2006/relationships/tags" Target="../tags/tag29.xml"/><Relationship Id="rId9" Type="http://schemas.openxmlformats.org/officeDocument/2006/relationships/tags" Target="../tags/tag6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33" Type="http://schemas.openxmlformats.org/officeDocument/2006/relationships/tags" Target="../tags/tag30.xml"/><Relationship Id="rId34" Type="http://schemas.openxmlformats.org/officeDocument/2006/relationships/oleObject" Target="../embeddings/oleObject1.bin"/><Relationship Id="rId35" Type="http://schemas.openxmlformats.org/officeDocument/2006/relationships/image" Target="../media/image1.emf"/><Relationship Id="rId10" Type="http://schemas.openxmlformats.org/officeDocument/2006/relationships/tags" Target="../tags/tag7.xml"/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tags" Target="../tags/tag14.xml"/><Relationship Id="rId18" Type="http://schemas.openxmlformats.org/officeDocument/2006/relationships/tags" Target="../tags/tag15.xml"/><Relationship Id="rId19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3846589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146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Picture 2463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baseline="0" noProof="0" dirty="0">
              <a:latin typeface="Arial"/>
              <a:ea typeface="+mn-ea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286697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74944" y="524517"/>
            <a:ext cx="72188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4944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Arial" pitchFamily="34" charset="0"/>
                <a:ea typeface="+mj-ea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74944" y="6396370"/>
            <a:ext cx="8794112" cy="422753"/>
            <a:chOff x="75" y="3949"/>
            <a:chExt cx="5385" cy="26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49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/>
              </a:pPr>
              <a:r>
                <a:rPr lang="en-US" sz="1000" baseline="0" noProof="0" dirty="0" smtClean="0">
                  <a:solidFill>
                    <a:schemeClr val="accent6"/>
                  </a:solidFill>
                  <a:latin typeface="Arial" pitchFamily="34" charset="0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15"/>
              <a:ext cx="47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55613" indent="-455613" defTabSz="913526">
                <a:tabLst>
                  <a:tab pos="625214" algn="l"/>
                </a:tabLst>
              </a:pPr>
              <a:r>
                <a:rPr lang="en-US" sz="1000" baseline="0" noProof="0" dirty="0" smtClean="0">
                  <a:solidFill>
                    <a:schemeClr val="accent6"/>
                  </a:solidFill>
                  <a:latin typeface="Arial" pitchFamily="34" charset="0"/>
                  <a:cs typeface="Arial" pitchFamily="34" charset="0"/>
                </a:rPr>
                <a:t>Source: Source</a:t>
              </a:r>
              <a:endParaRPr lang="en-US" sz="1000" baseline="0" noProof="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22854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Arial" pitchFamily="34" charset="0"/>
                  <a:ea typeface="+mn-ea"/>
                  <a:cs typeface="Arial" pitchFamily="34" charset="0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Arial" pitchFamily="34" charset="0"/>
                  <a:ea typeface="+mn-ea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3" name="Line 4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174944" y="893540"/>
            <a:ext cx="8794113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latin typeface="Arial"/>
              <a:sym typeface="Arial"/>
            </a:endParaRPr>
          </a:p>
        </p:txBody>
      </p:sp>
      <p:grpSp>
        <p:nvGrpSpPr>
          <p:cNvPr id="26" name="LegendBox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207850" y="991152"/>
            <a:ext cx="763588" cy="996951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899875" y="991152"/>
            <a:ext cx="1071563" cy="730251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>
            <p:custDataLst>
              <p:tags r:id="rId16"/>
            </p:custDataLst>
          </p:nvPr>
        </p:nvGrpSpPr>
        <p:grpSpPr bwMode="auto">
          <a:xfrm>
            <a:off x="7863314" y="991152"/>
            <a:ext cx="1108124" cy="212366"/>
            <a:chOff x="7632651" y="285750"/>
            <a:chExt cx="1108124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632651" y="285750"/>
              <a:ext cx="110812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 pitchFamily="34" charset="0"/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3265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32651" y="498116"/>
              <a:ext cx="110812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>
            <p:custDataLst>
              <p:tags r:id="rId17"/>
            </p:custDataLst>
          </p:nvPr>
        </p:nvGrpSpPr>
        <p:grpSpPr bwMode="auto">
          <a:xfrm>
            <a:off x="8141008" y="991152"/>
            <a:ext cx="830430" cy="1306516"/>
            <a:chOff x="6655594" y="273840"/>
            <a:chExt cx="83043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68" name="Slide Number"/>
          <p:cNvSpPr txBox="1">
            <a:spLocks/>
          </p:cNvSpPr>
          <p:nvPr userDrawn="1">
            <p:custDataLst>
              <p:tags r:id="rId18"/>
            </p:custDataLst>
          </p:nvPr>
        </p:nvSpPr>
        <p:spPr bwMode="auto">
          <a:xfrm>
            <a:off x="8811963" y="666675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pPr lvl="0" algn="r"/>
              <a:t>‹#›</a:t>
            </a:fld>
            <a:endParaRPr lang="en-US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tx2"/>
          </a:solidFill>
          <a:latin typeface="Arial"/>
          <a:ea typeface="Arial Unicode MS" pitchFamily="34" charset="-128"/>
          <a:cs typeface="Arial Unicode MS" pitchFamily="34" charset="-128"/>
          <a:sym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1pPr>
      <a:lvl2pPr marL="260350" indent="-258763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2pPr>
      <a:lvl3pPr marL="465138" indent="-203200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3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3pPr>
      <a:lvl4pPr marL="690563" indent="-2254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4pPr>
      <a:lvl5pPr marL="865188" indent="-1746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4" Type="http://schemas.openxmlformats.org/officeDocument/2006/relationships/tags" Target="../tags/tag207.xml"/><Relationship Id="rId5" Type="http://schemas.openxmlformats.org/officeDocument/2006/relationships/tags" Target="../tags/tag208.xml"/><Relationship Id="rId6" Type="http://schemas.openxmlformats.org/officeDocument/2006/relationships/tags" Target="../tags/tag209.xml"/><Relationship Id="rId7" Type="http://schemas.openxmlformats.org/officeDocument/2006/relationships/tags" Target="../tags/tag210.xml"/><Relationship Id="rId8" Type="http://schemas.openxmlformats.org/officeDocument/2006/relationships/tags" Target="../tags/tag211.xml"/><Relationship Id="rId9" Type="http://schemas.openxmlformats.org/officeDocument/2006/relationships/slideLayout" Target="../slideLayouts/slideLayout2.xml"/><Relationship Id="rId10" Type="http://schemas.openxmlformats.org/officeDocument/2006/relationships/comments" Target="../comments/comment1.xml"/><Relationship Id="rId1" Type="http://schemas.openxmlformats.org/officeDocument/2006/relationships/tags" Target="../tags/tag204.xml"/><Relationship Id="rId2" Type="http://schemas.openxmlformats.org/officeDocument/2006/relationships/tags" Target="../tags/tag20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4" Type="http://schemas.openxmlformats.org/officeDocument/2006/relationships/tags" Target="../tags/tag214.xml"/><Relationship Id="rId5" Type="http://schemas.openxmlformats.org/officeDocument/2006/relationships/slideLayout" Target="../slideLayouts/slideLayout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212.xml"/></Relationships>
</file>

<file path=ppt/slides/_rels/slide12.xml.rels><?xml version="1.0" encoding="UTF-8" standalone="yes"?>
<Relationships xmlns="http://schemas.openxmlformats.org/package/2006/relationships"><Relationship Id="rId46" Type="http://schemas.openxmlformats.org/officeDocument/2006/relationships/image" Target="../media/image15.png"/><Relationship Id="rId20" Type="http://schemas.openxmlformats.org/officeDocument/2006/relationships/tags" Target="../tags/tag233.xml"/><Relationship Id="rId21" Type="http://schemas.openxmlformats.org/officeDocument/2006/relationships/tags" Target="../tags/tag234.xml"/><Relationship Id="rId22" Type="http://schemas.openxmlformats.org/officeDocument/2006/relationships/tags" Target="../tags/tag235.xml"/><Relationship Id="rId23" Type="http://schemas.openxmlformats.org/officeDocument/2006/relationships/tags" Target="../tags/tag236.xml"/><Relationship Id="rId24" Type="http://schemas.openxmlformats.org/officeDocument/2006/relationships/tags" Target="../tags/tag237.xml"/><Relationship Id="rId25" Type="http://schemas.openxmlformats.org/officeDocument/2006/relationships/tags" Target="../tags/tag238.xml"/><Relationship Id="rId26" Type="http://schemas.openxmlformats.org/officeDocument/2006/relationships/tags" Target="../tags/tag239.xml"/><Relationship Id="rId27" Type="http://schemas.openxmlformats.org/officeDocument/2006/relationships/tags" Target="../tags/tag240.xml"/><Relationship Id="rId28" Type="http://schemas.openxmlformats.org/officeDocument/2006/relationships/tags" Target="../tags/tag241.xml"/><Relationship Id="rId29" Type="http://schemas.openxmlformats.org/officeDocument/2006/relationships/tags" Target="../tags/tag242.xml"/><Relationship Id="rId1" Type="http://schemas.openxmlformats.org/officeDocument/2006/relationships/vmlDrawing" Target="../drawings/vmlDrawing12.vml"/><Relationship Id="rId2" Type="http://schemas.openxmlformats.org/officeDocument/2006/relationships/tags" Target="../tags/tag215.xml"/><Relationship Id="rId3" Type="http://schemas.openxmlformats.org/officeDocument/2006/relationships/tags" Target="../tags/tag216.xml"/><Relationship Id="rId4" Type="http://schemas.openxmlformats.org/officeDocument/2006/relationships/tags" Target="../tags/tag217.xml"/><Relationship Id="rId5" Type="http://schemas.openxmlformats.org/officeDocument/2006/relationships/tags" Target="../tags/tag218.xml"/><Relationship Id="rId30" Type="http://schemas.openxmlformats.org/officeDocument/2006/relationships/tags" Target="../tags/tag243.xml"/><Relationship Id="rId31" Type="http://schemas.openxmlformats.org/officeDocument/2006/relationships/tags" Target="../tags/tag244.xml"/><Relationship Id="rId32" Type="http://schemas.openxmlformats.org/officeDocument/2006/relationships/tags" Target="../tags/tag245.xml"/><Relationship Id="rId9" Type="http://schemas.openxmlformats.org/officeDocument/2006/relationships/tags" Target="../tags/tag222.xml"/><Relationship Id="rId6" Type="http://schemas.openxmlformats.org/officeDocument/2006/relationships/tags" Target="../tags/tag219.xml"/><Relationship Id="rId7" Type="http://schemas.openxmlformats.org/officeDocument/2006/relationships/tags" Target="../tags/tag220.xml"/><Relationship Id="rId8" Type="http://schemas.openxmlformats.org/officeDocument/2006/relationships/tags" Target="../tags/tag221.xml"/><Relationship Id="rId33" Type="http://schemas.openxmlformats.org/officeDocument/2006/relationships/tags" Target="../tags/tag246.xml"/><Relationship Id="rId34" Type="http://schemas.openxmlformats.org/officeDocument/2006/relationships/tags" Target="../tags/tag247.xml"/><Relationship Id="rId35" Type="http://schemas.openxmlformats.org/officeDocument/2006/relationships/tags" Target="../tags/tag248.xml"/><Relationship Id="rId36" Type="http://schemas.openxmlformats.org/officeDocument/2006/relationships/tags" Target="../tags/tag249.xml"/><Relationship Id="rId10" Type="http://schemas.openxmlformats.org/officeDocument/2006/relationships/tags" Target="../tags/tag223.xml"/><Relationship Id="rId11" Type="http://schemas.openxmlformats.org/officeDocument/2006/relationships/tags" Target="../tags/tag224.xml"/><Relationship Id="rId12" Type="http://schemas.openxmlformats.org/officeDocument/2006/relationships/tags" Target="../tags/tag225.xml"/><Relationship Id="rId13" Type="http://schemas.openxmlformats.org/officeDocument/2006/relationships/tags" Target="../tags/tag226.xml"/><Relationship Id="rId14" Type="http://schemas.openxmlformats.org/officeDocument/2006/relationships/tags" Target="../tags/tag227.xml"/><Relationship Id="rId15" Type="http://schemas.openxmlformats.org/officeDocument/2006/relationships/tags" Target="../tags/tag228.xml"/><Relationship Id="rId16" Type="http://schemas.openxmlformats.org/officeDocument/2006/relationships/tags" Target="../tags/tag229.xml"/><Relationship Id="rId17" Type="http://schemas.openxmlformats.org/officeDocument/2006/relationships/tags" Target="../tags/tag230.xml"/><Relationship Id="rId18" Type="http://schemas.openxmlformats.org/officeDocument/2006/relationships/tags" Target="../tags/tag231.xml"/><Relationship Id="rId19" Type="http://schemas.openxmlformats.org/officeDocument/2006/relationships/tags" Target="../tags/tag232.xml"/><Relationship Id="rId37" Type="http://schemas.openxmlformats.org/officeDocument/2006/relationships/tags" Target="../tags/tag250.xml"/><Relationship Id="rId38" Type="http://schemas.openxmlformats.org/officeDocument/2006/relationships/tags" Target="../tags/tag251.xml"/><Relationship Id="rId39" Type="http://schemas.openxmlformats.org/officeDocument/2006/relationships/tags" Target="../tags/tag252.xml"/><Relationship Id="rId40" Type="http://schemas.openxmlformats.org/officeDocument/2006/relationships/slideLayout" Target="../slideLayouts/slideLayout2.xml"/><Relationship Id="rId41" Type="http://schemas.openxmlformats.org/officeDocument/2006/relationships/notesSlide" Target="../notesSlides/notesSlide1.xml"/><Relationship Id="rId42" Type="http://schemas.openxmlformats.org/officeDocument/2006/relationships/oleObject" Target="../embeddings/oleObject15.bin"/><Relationship Id="rId43" Type="http://schemas.openxmlformats.org/officeDocument/2006/relationships/image" Target="../media/image12.png"/><Relationship Id="rId44" Type="http://schemas.openxmlformats.org/officeDocument/2006/relationships/image" Target="../media/image13.png"/><Relationship Id="rId45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51.xml"/><Relationship Id="rId20" Type="http://schemas.openxmlformats.org/officeDocument/2006/relationships/slideLayout" Target="../slideLayouts/slideLayout2.xml"/><Relationship Id="rId21" Type="http://schemas.openxmlformats.org/officeDocument/2006/relationships/oleObject" Target="../embeddings/oleObject4.bin"/><Relationship Id="rId22" Type="http://schemas.openxmlformats.org/officeDocument/2006/relationships/image" Target="../media/image3.emf"/><Relationship Id="rId23" Type="http://schemas.openxmlformats.org/officeDocument/2006/relationships/image" Target="../media/image4.emf"/><Relationship Id="rId24" Type="http://schemas.openxmlformats.org/officeDocument/2006/relationships/image" Target="../media/image5.jpeg"/><Relationship Id="rId25" Type="http://schemas.openxmlformats.org/officeDocument/2006/relationships/image" Target="../media/image6.png"/><Relationship Id="rId26" Type="http://schemas.openxmlformats.org/officeDocument/2006/relationships/image" Target="../media/image7.png"/><Relationship Id="rId27" Type="http://schemas.openxmlformats.org/officeDocument/2006/relationships/image" Target="../media/image8.png"/><Relationship Id="rId10" Type="http://schemas.openxmlformats.org/officeDocument/2006/relationships/tags" Target="../tags/tag52.xml"/><Relationship Id="rId11" Type="http://schemas.openxmlformats.org/officeDocument/2006/relationships/tags" Target="../tags/tag53.xml"/><Relationship Id="rId12" Type="http://schemas.openxmlformats.org/officeDocument/2006/relationships/tags" Target="../tags/tag54.xml"/><Relationship Id="rId13" Type="http://schemas.openxmlformats.org/officeDocument/2006/relationships/tags" Target="../tags/tag55.xml"/><Relationship Id="rId14" Type="http://schemas.openxmlformats.org/officeDocument/2006/relationships/tags" Target="../tags/tag56.xml"/><Relationship Id="rId15" Type="http://schemas.openxmlformats.org/officeDocument/2006/relationships/tags" Target="../tags/tag57.xml"/><Relationship Id="rId16" Type="http://schemas.openxmlformats.org/officeDocument/2006/relationships/tags" Target="../tags/tag58.xml"/><Relationship Id="rId17" Type="http://schemas.openxmlformats.org/officeDocument/2006/relationships/tags" Target="../tags/tag59.xml"/><Relationship Id="rId18" Type="http://schemas.openxmlformats.org/officeDocument/2006/relationships/tags" Target="../tags/tag60.xml"/><Relationship Id="rId19" Type="http://schemas.openxmlformats.org/officeDocument/2006/relationships/tags" Target="../tags/tag61.xml"/><Relationship Id="rId1" Type="http://schemas.openxmlformats.org/officeDocument/2006/relationships/vmlDrawing" Target="../drawings/vmlDrawing4.vml"/><Relationship Id="rId2" Type="http://schemas.openxmlformats.org/officeDocument/2006/relationships/tags" Target="../tags/tag44.xml"/><Relationship Id="rId3" Type="http://schemas.openxmlformats.org/officeDocument/2006/relationships/tags" Target="../tags/tag45.xml"/><Relationship Id="rId4" Type="http://schemas.openxmlformats.org/officeDocument/2006/relationships/tags" Target="../tags/tag46.xml"/><Relationship Id="rId5" Type="http://schemas.openxmlformats.org/officeDocument/2006/relationships/tags" Target="../tags/tag47.xml"/><Relationship Id="rId6" Type="http://schemas.openxmlformats.org/officeDocument/2006/relationships/tags" Target="../tags/tag48.xml"/><Relationship Id="rId7" Type="http://schemas.openxmlformats.org/officeDocument/2006/relationships/tags" Target="../tags/tag49.xml"/><Relationship Id="rId8" Type="http://schemas.openxmlformats.org/officeDocument/2006/relationships/tags" Target="../tags/tag5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5.vml"/><Relationship Id="rId2" Type="http://schemas.openxmlformats.org/officeDocument/2006/relationships/tags" Target="../tags/tag62.xml"/><Relationship Id="rId3" Type="http://schemas.openxmlformats.org/officeDocument/2006/relationships/tags" Target="../tags/tag63.xml"/><Relationship Id="rId4" Type="http://schemas.openxmlformats.org/officeDocument/2006/relationships/tags" Target="../tags/tag64.xml"/><Relationship Id="rId5" Type="http://schemas.openxmlformats.org/officeDocument/2006/relationships/tags" Target="../tags/tag65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9" Type="http://schemas.openxmlformats.org/officeDocument/2006/relationships/tags" Target="../tags/tag69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50" Type="http://schemas.openxmlformats.org/officeDocument/2006/relationships/tags" Target="../tags/tag110.xml"/><Relationship Id="rId51" Type="http://schemas.openxmlformats.org/officeDocument/2006/relationships/tags" Target="../tags/tag111.xml"/><Relationship Id="rId52" Type="http://schemas.openxmlformats.org/officeDocument/2006/relationships/tags" Target="../tags/tag112.xml"/><Relationship Id="rId53" Type="http://schemas.openxmlformats.org/officeDocument/2006/relationships/tags" Target="../tags/tag113.xml"/><Relationship Id="rId54" Type="http://schemas.openxmlformats.org/officeDocument/2006/relationships/tags" Target="../tags/tag114.xml"/><Relationship Id="rId55" Type="http://schemas.openxmlformats.org/officeDocument/2006/relationships/tags" Target="../tags/tag115.xml"/><Relationship Id="rId56" Type="http://schemas.openxmlformats.org/officeDocument/2006/relationships/tags" Target="../tags/tag116.xml"/><Relationship Id="rId57" Type="http://schemas.openxmlformats.org/officeDocument/2006/relationships/tags" Target="../tags/tag117.xml"/><Relationship Id="rId58" Type="http://schemas.openxmlformats.org/officeDocument/2006/relationships/tags" Target="../tags/tag118.xml"/><Relationship Id="rId59" Type="http://schemas.openxmlformats.org/officeDocument/2006/relationships/tags" Target="../tags/tag119.xml"/><Relationship Id="rId70" Type="http://schemas.openxmlformats.org/officeDocument/2006/relationships/tags" Target="../tags/tag130.xml"/><Relationship Id="rId71" Type="http://schemas.openxmlformats.org/officeDocument/2006/relationships/tags" Target="../tags/tag131.xml"/><Relationship Id="rId72" Type="http://schemas.openxmlformats.org/officeDocument/2006/relationships/tags" Target="../tags/tag132.xml"/><Relationship Id="rId73" Type="http://schemas.openxmlformats.org/officeDocument/2006/relationships/tags" Target="../tags/tag133.xml"/><Relationship Id="rId74" Type="http://schemas.openxmlformats.org/officeDocument/2006/relationships/tags" Target="../tags/tag134.xml"/><Relationship Id="rId75" Type="http://schemas.openxmlformats.org/officeDocument/2006/relationships/tags" Target="../tags/tag135.xml"/><Relationship Id="rId76" Type="http://schemas.openxmlformats.org/officeDocument/2006/relationships/tags" Target="../tags/tag136.xml"/><Relationship Id="rId77" Type="http://schemas.openxmlformats.org/officeDocument/2006/relationships/tags" Target="../tags/tag137.xml"/><Relationship Id="rId78" Type="http://schemas.openxmlformats.org/officeDocument/2006/relationships/tags" Target="../tags/tag138.xml"/><Relationship Id="rId79" Type="http://schemas.openxmlformats.org/officeDocument/2006/relationships/tags" Target="../tags/tag139.xml"/><Relationship Id="rId90" Type="http://schemas.openxmlformats.org/officeDocument/2006/relationships/slideLayout" Target="../slideLayouts/slideLayout2.xml"/><Relationship Id="rId91" Type="http://schemas.openxmlformats.org/officeDocument/2006/relationships/oleObject" Target="../embeddings/oleObject5.bin"/><Relationship Id="rId92" Type="http://schemas.openxmlformats.org/officeDocument/2006/relationships/image" Target="../media/image3.emf"/><Relationship Id="rId93" Type="http://schemas.openxmlformats.org/officeDocument/2006/relationships/oleObject" Target="../embeddings/oleObject6.bin"/><Relationship Id="rId94" Type="http://schemas.openxmlformats.org/officeDocument/2006/relationships/image" Target="../media/image9.emf"/><Relationship Id="rId95" Type="http://schemas.openxmlformats.org/officeDocument/2006/relationships/oleObject" Target="../embeddings/oleObject7.bin"/><Relationship Id="rId96" Type="http://schemas.openxmlformats.org/officeDocument/2006/relationships/image" Target="../media/image10.emf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60" Type="http://schemas.openxmlformats.org/officeDocument/2006/relationships/tags" Target="../tags/tag120.xml"/><Relationship Id="rId61" Type="http://schemas.openxmlformats.org/officeDocument/2006/relationships/tags" Target="../tags/tag121.xml"/><Relationship Id="rId62" Type="http://schemas.openxmlformats.org/officeDocument/2006/relationships/tags" Target="../tags/tag122.xml"/><Relationship Id="rId63" Type="http://schemas.openxmlformats.org/officeDocument/2006/relationships/tags" Target="../tags/tag123.xml"/><Relationship Id="rId64" Type="http://schemas.openxmlformats.org/officeDocument/2006/relationships/tags" Target="../tags/tag124.xml"/><Relationship Id="rId65" Type="http://schemas.openxmlformats.org/officeDocument/2006/relationships/tags" Target="../tags/tag125.xml"/><Relationship Id="rId66" Type="http://schemas.openxmlformats.org/officeDocument/2006/relationships/tags" Target="../tags/tag126.xml"/><Relationship Id="rId67" Type="http://schemas.openxmlformats.org/officeDocument/2006/relationships/tags" Target="../tags/tag127.xml"/><Relationship Id="rId68" Type="http://schemas.openxmlformats.org/officeDocument/2006/relationships/tags" Target="../tags/tag128.xml"/><Relationship Id="rId69" Type="http://schemas.openxmlformats.org/officeDocument/2006/relationships/tags" Target="../tags/tag129.xml"/><Relationship Id="rId80" Type="http://schemas.openxmlformats.org/officeDocument/2006/relationships/tags" Target="../tags/tag140.xml"/><Relationship Id="rId81" Type="http://schemas.openxmlformats.org/officeDocument/2006/relationships/tags" Target="../tags/tag141.xml"/><Relationship Id="rId82" Type="http://schemas.openxmlformats.org/officeDocument/2006/relationships/tags" Target="../tags/tag142.xml"/><Relationship Id="rId83" Type="http://schemas.openxmlformats.org/officeDocument/2006/relationships/tags" Target="../tags/tag143.xml"/><Relationship Id="rId84" Type="http://schemas.openxmlformats.org/officeDocument/2006/relationships/tags" Target="../tags/tag144.xml"/><Relationship Id="rId85" Type="http://schemas.openxmlformats.org/officeDocument/2006/relationships/tags" Target="../tags/tag145.xml"/><Relationship Id="rId86" Type="http://schemas.openxmlformats.org/officeDocument/2006/relationships/tags" Target="../tags/tag146.xml"/><Relationship Id="rId87" Type="http://schemas.openxmlformats.org/officeDocument/2006/relationships/tags" Target="../tags/tag147.xml"/><Relationship Id="rId88" Type="http://schemas.openxmlformats.org/officeDocument/2006/relationships/tags" Target="../tags/tag148.xml"/><Relationship Id="rId89" Type="http://schemas.openxmlformats.org/officeDocument/2006/relationships/tags" Target="../tags/tag1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tags" Target="../tags/tag152.xml"/><Relationship Id="rId5" Type="http://schemas.openxmlformats.org/officeDocument/2006/relationships/tags" Target="../tags/tag153.xml"/><Relationship Id="rId6" Type="http://schemas.openxmlformats.org/officeDocument/2006/relationships/tags" Target="../tags/tag154.xml"/><Relationship Id="rId7" Type="http://schemas.openxmlformats.org/officeDocument/2006/relationships/tags" Target="../tags/tag155.xml"/><Relationship Id="rId8" Type="http://schemas.openxmlformats.org/officeDocument/2006/relationships/tags" Target="../tags/tag156.xml"/><Relationship Id="rId9" Type="http://schemas.openxmlformats.org/officeDocument/2006/relationships/slideLayout" Target="../slideLayouts/slideLayout2.xml"/><Relationship Id="rId10" Type="http://schemas.openxmlformats.org/officeDocument/2006/relationships/oleObject" Target="../embeddings/oleObject8.bin"/><Relationship Id="rId11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15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157.xml"/><Relationship Id="rId2" Type="http://schemas.openxmlformats.org/officeDocument/2006/relationships/tags" Target="../tags/tag158.xml"/><Relationship Id="rId3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tags" Target="../tags/tag168.xml"/><Relationship Id="rId12" Type="http://schemas.openxmlformats.org/officeDocument/2006/relationships/tags" Target="../tags/tag169.xml"/><Relationship Id="rId13" Type="http://schemas.openxmlformats.org/officeDocument/2006/relationships/tags" Target="../tags/tag170.xml"/><Relationship Id="rId14" Type="http://schemas.openxmlformats.org/officeDocument/2006/relationships/slideLayout" Target="../slideLayouts/slideLayout2.xml"/><Relationship Id="rId15" Type="http://schemas.openxmlformats.org/officeDocument/2006/relationships/oleObject" Target="../embeddings/oleObject9.bin"/><Relationship Id="rId16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159.xml"/><Relationship Id="rId3" Type="http://schemas.openxmlformats.org/officeDocument/2006/relationships/tags" Target="../tags/tag160.xml"/><Relationship Id="rId4" Type="http://schemas.openxmlformats.org/officeDocument/2006/relationships/tags" Target="../tags/tag161.xml"/><Relationship Id="rId5" Type="http://schemas.openxmlformats.org/officeDocument/2006/relationships/tags" Target="../tags/tag162.xml"/><Relationship Id="rId6" Type="http://schemas.openxmlformats.org/officeDocument/2006/relationships/tags" Target="../tags/tag163.xml"/><Relationship Id="rId7" Type="http://schemas.openxmlformats.org/officeDocument/2006/relationships/tags" Target="../tags/tag164.xml"/><Relationship Id="rId8" Type="http://schemas.openxmlformats.org/officeDocument/2006/relationships/tags" Target="../tags/tag165.xml"/><Relationship Id="rId9" Type="http://schemas.openxmlformats.org/officeDocument/2006/relationships/tags" Target="../tags/tag166.xml"/><Relationship Id="rId10" Type="http://schemas.openxmlformats.org/officeDocument/2006/relationships/tags" Target="../tags/tag167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0.bin"/><Relationship Id="rId12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tags" Target="../tags/tag173.xml"/><Relationship Id="rId5" Type="http://schemas.openxmlformats.org/officeDocument/2006/relationships/tags" Target="../tags/tag174.xml"/><Relationship Id="rId6" Type="http://schemas.openxmlformats.org/officeDocument/2006/relationships/tags" Target="../tags/tag175.xml"/><Relationship Id="rId7" Type="http://schemas.openxmlformats.org/officeDocument/2006/relationships/tags" Target="../tags/tag176.xml"/><Relationship Id="rId8" Type="http://schemas.openxmlformats.org/officeDocument/2006/relationships/tags" Target="../tags/tag177.xml"/><Relationship Id="rId9" Type="http://schemas.openxmlformats.org/officeDocument/2006/relationships/tags" Target="../tags/tag178.xml"/><Relationship Id="rId10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186.xml"/><Relationship Id="rId20" Type="http://schemas.openxmlformats.org/officeDocument/2006/relationships/tags" Target="../tags/tag197.xml"/><Relationship Id="rId21" Type="http://schemas.openxmlformats.org/officeDocument/2006/relationships/tags" Target="../tags/tag198.xml"/><Relationship Id="rId22" Type="http://schemas.openxmlformats.org/officeDocument/2006/relationships/slideLayout" Target="../slideLayouts/slideLayout2.xml"/><Relationship Id="rId23" Type="http://schemas.openxmlformats.org/officeDocument/2006/relationships/oleObject" Target="../embeddings/oleObject11.bin"/><Relationship Id="rId24" Type="http://schemas.openxmlformats.org/officeDocument/2006/relationships/image" Target="../media/image3.emf"/><Relationship Id="rId25" Type="http://schemas.openxmlformats.org/officeDocument/2006/relationships/oleObject" Target="../embeddings/oleObject12.bin"/><Relationship Id="rId26" Type="http://schemas.openxmlformats.org/officeDocument/2006/relationships/image" Target="../media/image11.emf"/><Relationship Id="rId10" Type="http://schemas.openxmlformats.org/officeDocument/2006/relationships/tags" Target="../tags/tag187.xml"/><Relationship Id="rId11" Type="http://schemas.openxmlformats.org/officeDocument/2006/relationships/tags" Target="../tags/tag188.xml"/><Relationship Id="rId12" Type="http://schemas.openxmlformats.org/officeDocument/2006/relationships/tags" Target="../tags/tag189.xml"/><Relationship Id="rId13" Type="http://schemas.openxmlformats.org/officeDocument/2006/relationships/tags" Target="../tags/tag190.xml"/><Relationship Id="rId14" Type="http://schemas.openxmlformats.org/officeDocument/2006/relationships/tags" Target="../tags/tag191.xml"/><Relationship Id="rId15" Type="http://schemas.openxmlformats.org/officeDocument/2006/relationships/tags" Target="../tags/tag192.xml"/><Relationship Id="rId16" Type="http://schemas.openxmlformats.org/officeDocument/2006/relationships/tags" Target="../tags/tag193.xml"/><Relationship Id="rId17" Type="http://schemas.openxmlformats.org/officeDocument/2006/relationships/tags" Target="../tags/tag194.xml"/><Relationship Id="rId18" Type="http://schemas.openxmlformats.org/officeDocument/2006/relationships/tags" Target="../tags/tag195.xml"/><Relationship Id="rId19" Type="http://schemas.openxmlformats.org/officeDocument/2006/relationships/tags" Target="../tags/tag196.xml"/><Relationship Id="rId1" Type="http://schemas.openxmlformats.org/officeDocument/2006/relationships/vmlDrawing" Target="../drawings/vmlDrawing9.vml"/><Relationship Id="rId2" Type="http://schemas.openxmlformats.org/officeDocument/2006/relationships/tags" Target="../tags/tag179.xml"/><Relationship Id="rId3" Type="http://schemas.openxmlformats.org/officeDocument/2006/relationships/tags" Target="../tags/tag180.xml"/><Relationship Id="rId4" Type="http://schemas.openxmlformats.org/officeDocument/2006/relationships/tags" Target="../tags/tag181.xml"/><Relationship Id="rId5" Type="http://schemas.openxmlformats.org/officeDocument/2006/relationships/tags" Target="../tags/tag182.xml"/><Relationship Id="rId6" Type="http://schemas.openxmlformats.org/officeDocument/2006/relationships/tags" Target="../tags/tag183.xml"/><Relationship Id="rId7" Type="http://schemas.openxmlformats.org/officeDocument/2006/relationships/tags" Target="../tags/tag184.xml"/><Relationship Id="rId8" Type="http://schemas.openxmlformats.org/officeDocument/2006/relationships/tags" Target="../tags/tag18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4" Type="http://schemas.openxmlformats.org/officeDocument/2006/relationships/tags" Target="../tags/tag201.xml"/><Relationship Id="rId5" Type="http://schemas.openxmlformats.org/officeDocument/2006/relationships/tags" Target="../tags/tag202.xml"/><Relationship Id="rId6" Type="http://schemas.openxmlformats.org/officeDocument/2006/relationships/tags" Target="../tags/tag203.xml"/><Relationship Id="rId7" Type="http://schemas.openxmlformats.org/officeDocument/2006/relationships/slideLayout" Target="../slideLayouts/slideLayout2.xml"/><Relationship Id="rId8" Type="http://schemas.openxmlformats.org/officeDocument/2006/relationships/oleObject" Target="../embeddings/oleObject13.bin"/><Relationship Id="rId9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45908" y="386800"/>
            <a:ext cx="2991403" cy="1107996"/>
          </a:xfrm>
        </p:spPr>
        <p:txBody>
          <a:bodyPr/>
          <a:lstStyle/>
          <a:p>
            <a:pPr algn="r"/>
            <a:r>
              <a:rPr lang="hy-AM" sz="1200" b="0" dirty="0" smtClean="0">
                <a:latin typeface="GHEA Grapalat"/>
                <a:cs typeface="GHEA Grapalat"/>
              </a:rPr>
              <a:t>Հավելված </a:t>
            </a:r>
            <a:r>
              <a:rPr lang="en-US" sz="1200" b="0" dirty="0" smtClean="0">
                <a:latin typeface="GHEA Grapalat"/>
                <a:cs typeface="GHEA Grapalat"/>
              </a:rPr>
              <a:t>3</a:t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en-US" sz="1200" b="0" dirty="0" smtClean="0">
                <a:latin typeface="GHEA Grapalat"/>
                <a:cs typeface="GHEA Grapalat"/>
              </a:rPr>
              <a:t/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hy-AM" sz="1200" b="0" dirty="0" smtClean="0">
                <a:latin typeface="GHEA Grapalat"/>
                <a:cs typeface="GHEA Grapalat"/>
              </a:rPr>
              <a:t>ՀՀ </a:t>
            </a:r>
            <a:r>
              <a:rPr lang="hy-AM" sz="1200" b="0" dirty="0">
                <a:latin typeface="GHEA Grapalat"/>
                <a:cs typeface="GHEA Grapalat"/>
              </a:rPr>
              <a:t>կառավարության 2013 </a:t>
            </a:r>
            <a:r>
              <a:rPr lang="hy-AM" sz="1200" b="0" dirty="0" smtClean="0">
                <a:latin typeface="GHEA Grapalat"/>
                <a:cs typeface="GHEA Grapalat"/>
              </a:rPr>
              <a:t>թվականի</a:t>
            </a:r>
            <a:r>
              <a:rPr lang="en-US" sz="1200" b="0" dirty="0" smtClean="0">
                <a:latin typeface="GHEA Grapalat"/>
                <a:cs typeface="GHEA Grapalat"/>
              </a:rPr>
              <a:t/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en-GB" sz="1200" b="0" dirty="0">
                <a:latin typeface="GHEA Grapalat"/>
                <a:cs typeface="GHEA Grapalat"/>
              </a:rPr>
              <a:t/>
            </a:r>
            <a:br>
              <a:rPr lang="en-GB" sz="1200" b="0" dirty="0">
                <a:latin typeface="GHEA Grapalat"/>
                <a:cs typeface="GHEA Grapalat"/>
              </a:rPr>
            </a:br>
            <a:r>
              <a:rPr lang="en-US" sz="1200" b="0" dirty="0">
                <a:latin typeface="GHEA Grapalat"/>
                <a:cs typeface="GHEA Grapalat"/>
              </a:rPr>
              <a:t>-</a:t>
            </a:r>
            <a:r>
              <a:rPr lang="hy-AM" sz="1200" b="0" dirty="0" smtClean="0">
                <a:latin typeface="GHEA Grapalat"/>
                <a:cs typeface="GHEA Grapalat"/>
              </a:rPr>
              <a:t> </a:t>
            </a:r>
            <a:r>
              <a:rPr lang="hy-AM" sz="1200" b="0" dirty="0">
                <a:latin typeface="GHEA Grapalat"/>
                <a:cs typeface="GHEA Grapalat"/>
              </a:rPr>
              <a:t>հոկտեմբերի -ի N - որոշման</a:t>
            </a:r>
            <a:r>
              <a:rPr lang="en-GB" sz="1200" b="0" dirty="0">
                <a:latin typeface="GHEA Grapalat"/>
                <a:cs typeface="GHEA Grapalat"/>
              </a:rPr>
              <a:t/>
            </a:r>
            <a:br>
              <a:rPr lang="en-GB" sz="1200" b="0" dirty="0">
                <a:latin typeface="GHEA Grapalat"/>
                <a:cs typeface="GHEA Grapalat"/>
              </a:rPr>
            </a:br>
            <a:endParaRPr lang="en-US" sz="1200" b="0" dirty="0">
              <a:latin typeface="GHEA Grapalat"/>
              <a:cs typeface="GHEA Grapala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0203" y="2578500"/>
            <a:ext cx="6299200" cy="1600438"/>
          </a:xfrm>
        </p:spPr>
        <p:txBody>
          <a:bodyPr/>
          <a:lstStyle/>
          <a:p>
            <a:pPr lvl="0" algn="ctr"/>
            <a:endParaRPr lang="en-US" sz="2000" cap="all" dirty="0" smtClean="0">
              <a:latin typeface="GHEA Grapalat"/>
              <a:cs typeface="GHEA Grapalat"/>
            </a:endParaRPr>
          </a:p>
          <a:p>
            <a:pPr lvl="0" algn="ctr"/>
            <a:r>
              <a:rPr lang="hy-AM" sz="2000" cap="all" dirty="0" smtClean="0">
                <a:latin typeface="GHEA Grapalat"/>
                <a:cs typeface="GHEA Grapalat"/>
              </a:rPr>
              <a:t>տեղական </a:t>
            </a:r>
            <a:r>
              <a:rPr lang="hy-AM" sz="2000" cap="all" dirty="0">
                <a:latin typeface="GHEA Grapalat"/>
                <a:cs typeface="GHEA Grapalat"/>
              </a:rPr>
              <a:t>ավիափոխադրողի կենսունակության բարձրացմանն ուղղված լիցենզավորման չափանիշները</a:t>
            </a:r>
            <a:endParaRPr lang="en-GB" sz="2000" dirty="0">
              <a:latin typeface="GHEA Grapalat"/>
              <a:cs typeface="GHEA Grapalat"/>
            </a:endParaRPr>
          </a:p>
          <a:p>
            <a:pPr algn="ctr"/>
            <a:endParaRPr lang="en-US" dirty="0">
              <a:latin typeface="GHEA Grapalat"/>
              <a:cs typeface="GHEA Grapala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251364" y="55034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200" dirty="0" err="1">
                <a:latin typeface="GHEA Grapalat"/>
                <a:cs typeface="GHEA Grapalat"/>
              </a:rPr>
              <a:t>Քաղ</a:t>
            </a:r>
            <a:r>
              <a:rPr lang="en-US" sz="1200" dirty="0">
                <a:latin typeface="GHEA Grapalat"/>
                <a:cs typeface="GHEA Grapalat"/>
              </a:rPr>
              <a:t>. </a:t>
            </a:r>
            <a:r>
              <a:rPr lang="en-US" sz="1200" dirty="0" err="1">
                <a:latin typeface="GHEA Grapalat"/>
                <a:cs typeface="GHEA Grapalat"/>
              </a:rPr>
              <a:t>Երևան</a:t>
            </a:r>
            <a:endParaRPr lang="en-GB" sz="1200" dirty="0">
              <a:latin typeface="GHEA Grapalat"/>
              <a:cs typeface="GHEA Grapalat"/>
            </a:endParaRPr>
          </a:p>
          <a:p>
            <a:pPr algn="ctr"/>
            <a:r>
              <a:rPr lang="en-US" sz="1200">
                <a:latin typeface="GHEA Grapalat"/>
                <a:cs typeface="GHEA Grapalat"/>
              </a:rPr>
              <a:t>-</a:t>
            </a:r>
            <a:r>
              <a:rPr lang="en-US" sz="1200" smtClean="0">
                <a:latin typeface="GHEA Grapalat"/>
                <a:cs typeface="GHEA Grapalat"/>
              </a:rPr>
              <a:t> </a:t>
            </a:r>
            <a:r>
              <a:rPr lang="en-US" sz="1200" dirty="0" err="1">
                <a:latin typeface="GHEA Grapalat"/>
                <a:cs typeface="GHEA Grapalat"/>
              </a:rPr>
              <a:t>հոկտեմբերի</a:t>
            </a:r>
            <a:r>
              <a:rPr lang="en-US" sz="1200" dirty="0">
                <a:latin typeface="GHEA Grapalat"/>
                <a:cs typeface="GHEA Grapalat"/>
              </a:rPr>
              <a:t>, 2013 </a:t>
            </a:r>
            <a:r>
              <a:rPr lang="en-US" sz="1200" dirty="0" err="1">
                <a:latin typeface="GHEA Grapalat"/>
                <a:cs typeface="GHEA Grapalat"/>
              </a:rPr>
              <a:t>թ</a:t>
            </a:r>
            <a:r>
              <a:rPr lang="en-US" sz="1200" dirty="0">
                <a:latin typeface="GHEA Grapalat"/>
                <a:cs typeface="GHEA Grapalat"/>
              </a:rPr>
              <a:t>.</a:t>
            </a:r>
            <a:endParaRPr lang="en-GB" sz="1200" dirty="0">
              <a:latin typeface="GHEA Grapalat"/>
              <a:cs typeface="GHEA Grapalat"/>
            </a:endParaRPr>
          </a:p>
        </p:txBody>
      </p:sp>
    </p:spTree>
    <p:extLst>
      <p:ext uri="{BB962C8B-B14F-4D97-AF65-F5344CB8AC3E}">
        <p14:creationId xmlns:p14="http://schemas.microsoft.com/office/powerpoint/2010/main" val="29413027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ltGray">
          <a:xfrm>
            <a:off x="566056" y="-29480"/>
            <a:ext cx="6773295" cy="861774"/>
          </a:xfrm>
        </p:spPr>
        <p:txBody>
          <a:bodyPr/>
          <a:lstStyle/>
          <a:p>
            <a:r>
              <a:rPr lang="hy-AM" sz="1800" dirty="0" smtClean="0"/>
              <a:t>Տեղական ավիափոխադրողները պետք է համապատասխանեն անվտանգության միջազգային բարձր չափանիշներին և կարողանան հուսալի չվացուցակ առաջարկել </a:t>
            </a:r>
            <a:endParaRPr lang="hy-AM" sz="1800" dirty="0"/>
          </a:p>
        </p:txBody>
      </p:sp>
      <p:sp>
        <p:nvSpPr>
          <p:cNvPr id="16" name="Rectangle 6"/>
          <p:cNvSpPr txBox="1"/>
          <p:nvPr>
            <p:custDataLst>
              <p:tags r:id="rId1"/>
            </p:custDataLst>
          </p:nvPr>
        </p:nvSpPr>
        <p:spPr bwMode="ltGray">
          <a:xfrm>
            <a:off x="5263719" y="1266961"/>
            <a:ext cx="3745898" cy="297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hy-AM" sz="1100" b="1" dirty="0" smtClean="0">
                <a:latin typeface="Sylfaen" pitchFamily="18" charset="0"/>
              </a:rPr>
              <a:t>5</a:t>
            </a:r>
            <a:r>
              <a:rPr lang="hy-AM" sz="1100" b="1" dirty="0" smtClean="0"/>
              <a:t> հիմնական գործառույթներ</a:t>
            </a:r>
            <a:r>
              <a:rPr lang="hy-AM" sz="1100" b="1" dirty="0" smtClean="0">
                <a:solidFill>
                  <a:srgbClr val="FF0000"/>
                </a:solidFill>
              </a:rPr>
              <a:t> </a:t>
            </a:r>
          </a:p>
          <a:p>
            <a:pPr lvl="2">
              <a:spcBef>
                <a:spcPts val="300"/>
              </a:spcBef>
            </a:pPr>
            <a:r>
              <a:rPr lang="hy-AM" sz="1100" dirty="0" smtClean="0"/>
              <a:t>Եկամուտների/շահույթի կառավարում </a:t>
            </a:r>
          </a:p>
          <a:p>
            <a:pPr lvl="2">
              <a:spcBef>
                <a:spcPts val="300"/>
              </a:spcBef>
            </a:pPr>
            <a:r>
              <a:rPr lang="hy-AM" sz="1100" dirty="0" smtClean="0"/>
              <a:t>Ցանցի կառավարում/պլանավորում </a:t>
            </a:r>
          </a:p>
          <a:p>
            <a:pPr lvl="2">
              <a:spcBef>
                <a:spcPts val="300"/>
              </a:spcBef>
            </a:pPr>
            <a:r>
              <a:rPr lang="hy-AM" sz="1100" dirty="0" smtClean="0"/>
              <a:t>ՏՏ</a:t>
            </a:r>
          </a:p>
          <a:p>
            <a:pPr lvl="2">
              <a:spcBef>
                <a:spcPts val="300"/>
              </a:spcBef>
            </a:pPr>
            <a:r>
              <a:rPr lang="hy-AM" sz="1100" dirty="0" smtClean="0"/>
              <a:t>Հաճախորդների սպասարկում </a:t>
            </a:r>
          </a:p>
          <a:p>
            <a:pPr lvl="2">
              <a:spcBef>
                <a:spcPts val="300"/>
              </a:spcBef>
            </a:pPr>
            <a:r>
              <a:rPr lang="hy-AM" sz="1100" dirty="0" smtClean="0"/>
              <a:t>Գործառնություններ և անվտանգություն </a:t>
            </a:r>
          </a:p>
          <a:p>
            <a:pPr lvl="1">
              <a:spcBef>
                <a:spcPts val="300"/>
              </a:spcBef>
            </a:pPr>
            <a:r>
              <a:rPr lang="hy-AM" sz="1100" dirty="0" smtClean="0"/>
              <a:t>Անվտանգության տեսանկյունից առավել կարևոր գործառույթների (վերապատրաստում, պահպանում, գործառնությունների իրականացում) համար պատասխանատու անձնակազմ (համապատասխան վկայականով/վերապատրաստում անցած)</a:t>
            </a:r>
          </a:p>
          <a:p>
            <a:pPr lvl="1">
              <a:spcBef>
                <a:spcPts val="300"/>
              </a:spcBef>
            </a:pPr>
            <a:r>
              <a:rPr lang="hy-AM" sz="11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Կայացած ավիաընկերություններում աշխատանքային փորձով մասնագետներից կազմված </a:t>
            </a:r>
            <a:r>
              <a:rPr lang="hy-AM" sz="1100" b="1" dirty="0" smtClean="0"/>
              <a:t>հիմնական անձնակազմ </a:t>
            </a:r>
            <a:r>
              <a:rPr lang="hy-AM" sz="1100" dirty="0" smtClean="0"/>
              <a:t>(ինքնակենսագրություն</a:t>
            </a:r>
            <a:r>
              <a:rPr lang="hy-AM" sz="1100" dirty="0" smtClean="0">
                <a:solidFill>
                  <a:srgbClr val="FF0000"/>
                </a:solidFill>
              </a:rPr>
              <a:t> </a:t>
            </a:r>
            <a:r>
              <a:rPr lang="hy-AM" sz="1100" dirty="0" smtClean="0"/>
              <a:t>աշխատանքային փորձի, կրթության և վերապատրաստումների մասին տեղեկատվությամբ)</a:t>
            </a:r>
            <a:endParaRPr lang="hy-AM" sz="1100" dirty="0"/>
          </a:p>
        </p:txBody>
      </p:sp>
      <p:sp>
        <p:nvSpPr>
          <p:cNvPr id="17" name="Rectangle 6"/>
          <p:cNvSpPr txBox="1">
            <a:spLocks/>
          </p:cNvSpPr>
          <p:nvPr>
            <p:custDataLst>
              <p:tags r:id="rId2"/>
            </p:custDataLst>
          </p:nvPr>
        </p:nvSpPr>
        <p:spPr bwMode="ltGray">
          <a:xfrm>
            <a:off x="5263719" y="998145"/>
            <a:ext cx="36598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1800"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600" smtClean="0"/>
              <a:t>… և պրոֆեսիոնալ գործունեություն</a:t>
            </a:r>
            <a:endParaRPr lang="hy-AM" sz="1600"/>
          </a:p>
        </p:txBody>
      </p:sp>
      <p:sp>
        <p:nvSpPr>
          <p:cNvPr id="14" name="Rectangle 6"/>
          <p:cNvSpPr txBox="1"/>
          <p:nvPr/>
        </p:nvSpPr>
        <p:spPr bwMode="ltGray">
          <a:xfrm>
            <a:off x="174944" y="235010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3</a:t>
            </a:r>
            <a:endParaRPr lang="hy-AM" sz="3600" b="1">
              <a:solidFill>
                <a:schemeClr val="accent2"/>
              </a:solidFill>
            </a:endParaRPr>
          </a:p>
        </p:txBody>
      </p:sp>
      <p:sp>
        <p:nvSpPr>
          <p:cNvPr id="18" name="McK 4. Footnote"/>
          <p:cNvSpPr txBox="1">
            <a:spLocks noChangeArrowheads="1"/>
          </p:cNvSpPr>
          <p:nvPr/>
        </p:nvSpPr>
        <p:spPr bwMode="ltGray">
          <a:xfrm>
            <a:off x="149064" y="6368138"/>
            <a:ext cx="87941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sz="900" smtClean="0">
                <a:latin typeface="Sylfaen" pitchFamily="18" charset="0"/>
              </a:rPr>
              <a:t>1 Թռիչքային պիտանիության վերաբերյալ ԵՄ օրենսդրությունը և Օդային օպերատորի վկայականը պաշտոնապես կիրառվում են ՔԱԳՎ հետ ԵՄ թվինինգային ծրագրի շրջանակներում: 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109978" y="998144"/>
            <a:ext cx="0" cy="521977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/>
          </p:cNvSpPr>
          <p:nvPr>
            <p:custDataLst>
              <p:tags r:id="rId3"/>
            </p:custDataLst>
          </p:nvPr>
        </p:nvSpPr>
        <p:spPr bwMode="ltGray">
          <a:xfrm>
            <a:off x="-238837" y="3012227"/>
            <a:ext cx="141254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1463">
              <a:spcBef>
                <a:spcPct val="80000"/>
              </a:spcBef>
            </a:pPr>
            <a:r>
              <a:rPr lang="hy-AM" sz="1200" smtClean="0">
                <a:solidFill>
                  <a:schemeClr val="accent2"/>
                </a:solidFill>
              </a:rPr>
              <a:t>Անվտանգ և պրոֆեսիոնալ գործունեության չափանիշներ </a:t>
            </a:r>
            <a:endParaRPr lang="hy-AM" sz="1200">
              <a:solidFill>
                <a:schemeClr val="accent2"/>
              </a:solidFill>
            </a:endParaRPr>
          </a:p>
        </p:txBody>
      </p:sp>
      <p:cxnSp>
        <p:nvCxnSpPr>
          <p:cNvPr id="15" name="Straight Connector 14"/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140772" y="998144"/>
            <a:ext cx="0" cy="5219776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 txBox="1">
            <a:spLocks/>
          </p:cNvSpPr>
          <p:nvPr>
            <p:custDataLst>
              <p:tags r:id="rId5"/>
            </p:custDataLst>
          </p:nvPr>
        </p:nvSpPr>
        <p:spPr bwMode="ltGray">
          <a:xfrm>
            <a:off x="1269629" y="998144"/>
            <a:ext cx="41497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1800"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600" smtClean="0"/>
              <a:t>Անվտանգ…</a:t>
            </a:r>
            <a:endParaRPr lang="hy-AM" sz="1600"/>
          </a:p>
        </p:txBody>
      </p:sp>
      <p:sp>
        <p:nvSpPr>
          <p:cNvPr id="21" name="Rectangle 6"/>
          <p:cNvSpPr txBox="1"/>
          <p:nvPr>
            <p:custDataLst>
              <p:tags r:id="rId6"/>
            </p:custDataLst>
          </p:nvPr>
        </p:nvSpPr>
        <p:spPr bwMode="ltGray">
          <a:xfrm>
            <a:off x="1269629" y="1266961"/>
            <a:ext cx="3773151" cy="186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hy-AM" sz="1100" dirty="0" smtClean="0"/>
              <a:t>Ապահով գործունեությունը հավաստող </a:t>
            </a:r>
            <a:r>
              <a:rPr lang="hy-AM" sz="1100" b="1" dirty="0" smtClean="0"/>
              <a:t>Օդային օպերատորի վավեր վկայական</a:t>
            </a:r>
          </a:p>
          <a:p>
            <a:pPr lvl="2">
              <a:spcBef>
                <a:spcPct val="20000"/>
              </a:spcBef>
            </a:pPr>
            <a:r>
              <a:rPr lang="hy-AM" sz="1100" dirty="0" smtClean="0"/>
              <a:t>Թռիչքի համար պիտանի շարժակազմ</a:t>
            </a:r>
          </a:p>
          <a:p>
            <a:pPr lvl="2">
              <a:spcBef>
                <a:spcPct val="20000"/>
              </a:spcBef>
            </a:pPr>
            <a:r>
              <a:rPr lang="hy-AM" sz="1100" dirty="0" smtClean="0"/>
              <a:t>Բավարար քանակով փորձառու անձնակազմ </a:t>
            </a:r>
          </a:p>
          <a:p>
            <a:pPr lvl="2">
              <a:spcBef>
                <a:spcPct val="20000"/>
              </a:spcBef>
            </a:pPr>
            <a:r>
              <a:rPr lang="hy-AM" sz="1100" dirty="0" smtClean="0"/>
              <a:t>Անձնակազմի ուսուցման համար ընդունելի համակարգ </a:t>
            </a:r>
          </a:p>
          <a:p>
            <a:pPr lvl="2">
              <a:spcBef>
                <a:spcPct val="20000"/>
              </a:spcBef>
            </a:pPr>
            <a:r>
              <a:rPr lang="hy-AM" sz="1100" dirty="0" smtClean="0"/>
              <a:t>Բոլոր կանոնակարգերի պահպանումն ապահովող որակի համակարգ</a:t>
            </a:r>
            <a:r>
              <a:rPr lang="en-US" sz="1100" dirty="0" smtClean="0"/>
              <a:t> </a:t>
            </a:r>
            <a:endParaRPr lang="hy-AM" sz="1100" dirty="0" smtClean="0"/>
          </a:p>
          <a:p>
            <a:pPr lvl="2">
              <a:spcBef>
                <a:spcPct val="20000"/>
              </a:spcBef>
            </a:pPr>
            <a:r>
              <a:rPr lang="hy-AM" sz="1100" dirty="0" smtClean="0"/>
              <a:t>Յուրաքանչյուր ուղևորի համար բավարար ապահովագրություն (մահ, վնասվածք)</a:t>
            </a:r>
            <a:endParaRPr lang="hy-AM" sz="1100" dirty="0"/>
          </a:p>
        </p:txBody>
      </p:sp>
      <p:grpSp>
        <p:nvGrpSpPr>
          <p:cNvPr id="22" name="Group 21"/>
          <p:cNvGrpSpPr/>
          <p:nvPr/>
        </p:nvGrpSpPr>
        <p:grpSpPr>
          <a:xfrm rot="5400000">
            <a:off x="7080709" y="4067166"/>
            <a:ext cx="377737" cy="942388"/>
            <a:chOff x="5361031" y="3297892"/>
            <a:chExt cx="526001" cy="942388"/>
          </a:xfrm>
        </p:grpSpPr>
        <p:sp>
          <p:nvSpPr>
            <p:cNvPr id="23" name="Chevron 22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  <p:sp>
          <p:nvSpPr>
            <p:cNvPr id="24" name="Chevron 23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 rot="5400000">
            <a:off x="2624059" y="4110299"/>
            <a:ext cx="377740" cy="942388"/>
            <a:chOff x="5361031" y="3297892"/>
            <a:chExt cx="526001" cy="942388"/>
          </a:xfrm>
        </p:grpSpPr>
        <p:sp>
          <p:nvSpPr>
            <p:cNvPr id="26" name="Chevron 25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  <p:sp>
          <p:nvSpPr>
            <p:cNvPr id="27" name="Chevron 26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8" name="Rectangle 6"/>
          <p:cNvSpPr txBox="1">
            <a:spLocks/>
          </p:cNvSpPr>
          <p:nvPr>
            <p:custDataLst>
              <p:tags r:id="rId7"/>
            </p:custDataLst>
          </p:nvPr>
        </p:nvSpPr>
        <p:spPr bwMode="ltGray">
          <a:xfrm>
            <a:off x="5263720" y="5098641"/>
            <a:ext cx="3782644" cy="10156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1000" b="1"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200" dirty="0" smtClean="0"/>
              <a:t>Օդանավերի քանակից անկախ՝ բոլոր գործառույթների իրականացման համար կպահանջվի նվազագույնը </a:t>
            </a:r>
            <a:r>
              <a:rPr lang="hy-AM" sz="1200" dirty="0" smtClean="0">
                <a:solidFill>
                  <a:schemeClr val="accent2"/>
                </a:solidFill>
                <a:latin typeface="Sylfaen" pitchFamily="18" charset="0"/>
              </a:rPr>
              <a:t>~60 </a:t>
            </a:r>
            <a:r>
              <a:rPr lang="hy-AM" sz="1200" dirty="0" smtClean="0">
                <a:solidFill>
                  <a:schemeClr val="accent2"/>
                </a:solidFill>
              </a:rPr>
              <a:t>աշխատակից</a:t>
            </a:r>
            <a:endParaRPr lang="hy-AM" sz="1200" dirty="0" smtClean="0"/>
          </a:p>
          <a:p>
            <a:pPr lvl="1">
              <a:spcBef>
                <a:spcPct val="50000"/>
              </a:spcBef>
            </a:pPr>
            <a:r>
              <a:rPr lang="hy-AM" sz="1200" dirty="0" smtClean="0">
                <a:solidFill>
                  <a:schemeClr val="accent2"/>
                </a:solidFill>
              </a:rPr>
              <a:t>Յուրաքանչյուր օդանավի համար կպահանջվի նաև ~8 օդաչու և ~8  ուղեկցորդ</a:t>
            </a:r>
            <a:endParaRPr lang="hy-AM" sz="1200" dirty="0">
              <a:solidFill>
                <a:schemeClr val="accent2"/>
              </a:solidFill>
            </a:endParaRPr>
          </a:p>
        </p:txBody>
      </p:sp>
      <p:sp>
        <p:nvSpPr>
          <p:cNvPr id="29" name="Rectangle 6"/>
          <p:cNvSpPr txBox="1"/>
          <p:nvPr>
            <p:custDataLst>
              <p:tags r:id="rId8"/>
            </p:custDataLst>
          </p:nvPr>
        </p:nvSpPr>
        <p:spPr bwMode="ltGray">
          <a:xfrm>
            <a:off x="1269629" y="4960140"/>
            <a:ext cx="384034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hy-AM" smtClean="0">
                <a:solidFill>
                  <a:schemeClr val="accent2"/>
                </a:solidFill>
              </a:rPr>
              <a:t>Օդային օպերատորի վկայականը տրվում է տեխնիկական կարգավորողի կողմից </a:t>
            </a:r>
            <a:r>
              <a:rPr lang="hy-AM" sz="1400" baseline="30000" smtClean="0">
                <a:solidFill>
                  <a:schemeClr val="accent2"/>
                </a:solidFill>
                <a:latin typeface="Sylfaen" pitchFamily="18" charset="0"/>
              </a:rPr>
              <a:t>1</a:t>
            </a:r>
            <a:r>
              <a:rPr lang="hy-AM" sz="1400" smtClean="0">
                <a:solidFill>
                  <a:schemeClr val="accent2"/>
                </a:solidFill>
                <a:latin typeface="Sylfaen" pitchFamily="18" charset="0"/>
              </a:rPr>
              <a:t> </a:t>
            </a:r>
            <a:endParaRPr lang="hy-AM" sz="1400">
              <a:solidFill>
                <a:schemeClr val="accent2"/>
              </a:solidFill>
              <a:latin typeface="Sylfae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3931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3441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ltGray">
          <a:xfrm>
            <a:off x="566056" y="278296"/>
            <a:ext cx="6816838" cy="553998"/>
          </a:xfrm>
        </p:spPr>
        <p:txBody>
          <a:bodyPr/>
          <a:lstStyle/>
          <a:p>
            <a:r>
              <a:rPr lang="hy-AM" sz="1800" dirty="0" smtClean="0"/>
              <a:t>Պրոֆեսիոնալ գործունեություն ապահովելու նպատակով անհրաժեշտ վարչակազմակերպական կառուցվածքի օրինակ </a:t>
            </a:r>
            <a:endParaRPr lang="hy-AM" sz="1800" dirty="0"/>
          </a:p>
        </p:txBody>
      </p:sp>
      <p:sp>
        <p:nvSpPr>
          <p:cNvPr id="84" name="Rectangle 6"/>
          <p:cNvSpPr txBox="1"/>
          <p:nvPr>
            <p:custDataLst>
              <p:tags r:id="rId4"/>
            </p:custDataLst>
          </p:nvPr>
        </p:nvSpPr>
        <p:spPr bwMode="ltGray">
          <a:xfrm>
            <a:off x="174944" y="235010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3</a:t>
            </a:r>
            <a:endParaRPr lang="hy-AM" sz="3600" b="1">
              <a:solidFill>
                <a:schemeClr val="accent2"/>
              </a:solidFill>
            </a:endParaRPr>
          </a:p>
        </p:txBody>
      </p:sp>
      <p:sp>
        <p:nvSpPr>
          <p:cNvPr id="9" name="Rectangle 9"/>
          <p:cNvSpPr txBox="1">
            <a:spLocks/>
          </p:cNvSpPr>
          <p:nvPr/>
        </p:nvSpPr>
        <p:spPr bwMode="ltGray">
          <a:xfrm>
            <a:off x="3807738" y="1372024"/>
            <a:ext cx="1528524" cy="447994"/>
          </a:xfrm>
          <a:prstGeom prst="rect">
            <a:avLst/>
          </a:prstGeom>
          <a:gradFill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24000">
                <a:schemeClr val="accent2"/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36000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200" smtClean="0"/>
              <a:t>Գլխավոր տնօրեն</a:t>
            </a:r>
            <a:endParaRPr lang="hy-AM" sz="1200"/>
          </a:p>
        </p:txBody>
      </p:sp>
      <p:sp>
        <p:nvSpPr>
          <p:cNvPr id="11" name="Rectangle 9"/>
          <p:cNvSpPr txBox="1"/>
          <p:nvPr/>
        </p:nvSpPr>
        <p:spPr bwMode="ltGray">
          <a:xfrm>
            <a:off x="5429619" y="1888058"/>
            <a:ext cx="1482594" cy="388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200" smtClean="0"/>
              <a:t>Որակ</a:t>
            </a:r>
            <a:endParaRPr lang="hy-AM" sz="1200"/>
          </a:p>
        </p:txBody>
      </p:sp>
      <p:sp>
        <p:nvSpPr>
          <p:cNvPr id="12" name="Rectangle 9"/>
          <p:cNvSpPr txBox="1"/>
          <p:nvPr/>
        </p:nvSpPr>
        <p:spPr bwMode="ltGray">
          <a:xfrm>
            <a:off x="2231786" y="1888058"/>
            <a:ext cx="1482594" cy="388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200" smtClean="0"/>
              <a:t>Ներկայացուցիչ</a:t>
            </a:r>
            <a:endParaRPr lang="hy-AM" sz="1200"/>
          </a:p>
        </p:txBody>
      </p:sp>
      <p:sp>
        <p:nvSpPr>
          <p:cNvPr id="13" name="Rectangle 9"/>
          <p:cNvSpPr txBox="1"/>
          <p:nvPr/>
        </p:nvSpPr>
        <p:spPr bwMode="ltGray">
          <a:xfrm>
            <a:off x="5429619" y="2374947"/>
            <a:ext cx="1482594" cy="388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200" smtClean="0"/>
              <a:t>Ապահովություն և անվտանգություն</a:t>
            </a:r>
            <a:endParaRPr lang="hy-AM" sz="1200"/>
          </a:p>
        </p:txBody>
      </p:sp>
      <p:sp>
        <p:nvSpPr>
          <p:cNvPr id="14" name="Rectangle 9"/>
          <p:cNvSpPr txBox="1"/>
          <p:nvPr/>
        </p:nvSpPr>
        <p:spPr bwMode="ltGray">
          <a:xfrm>
            <a:off x="2231786" y="2374947"/>
            <a:ext cx="1482594" cy="388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200" smtClean="0"/>
              <a:t>Ներքին աուդիտ</a:t>
            </a:r>
            <a:endParaRPr lang="hy-AM" sz="1200"/>
          </a:p>
        </p:txBody>
      </p:sp>
      <p:sp>
        <p:nvSpPr>
          <p:cNvPr id="19" name="Rectangle 9"/>
          <p:cNvSpPr txBox="1"/>
          <p:nvPr/>
        </p:nvSpPr>
        <p:spPr bwMode="ltGray">
          <a:xfrm>
            <a:off x="7268941" y="3053745"/>
            <a:ext cx="1591882" cy="447994"/>
          </a:xfrm>
          <a:prstGeom prst="rect">
            <a:avLst/>
          </a:prstGeom>
          <a:gradFill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24000">
                <a:schemeClr val="accent2"/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36000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1200"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smtClean="0"/>
              <a:t>Մարդկային ռեսուրսների գծով տնօրեն </a:t>
            </a:r>
            <a:endParaRPr lang="hy-AM" sz="1100"/>
          </a:p>
        </p:txBody>
      </p:sp>
      <p:sp>
        <p:nvSpPr>
          <p:cNvPr id="20" name="Rectangle 9"/>
          <p:cNvSpPr txBox="1">
            <a:spLocks/>
          </p:cNvSpPr>
          <p:nvPr/>
        </p:nvSpPr>
        <p:spPr bwMode="ltGray">
          <a:xfrm>
            <a:off x="551352" y="3597347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dirty="0" smtClean="0">
                <a:latin typeface="Times New Roman" pitchFamily="18" charset="0"/>
                <a:cs typeface="Times New Roman" pitchFamily="18" charset="0"/>
              </a:rPr>
              <a:t>Չվերթների իրականացում/անվտանգություն</a:t>
            </a:r>
            <a:endParaRPr lang="hy-AM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Rectangle 9"/>
          <p:cNvSpPr txBox="1">
            <a:spLocks/>
          </p:cNvSpPr>
          <p:nvPr/>
        </p:nvSpPr>
        <p:spPr bwMode="ltGray">
          <a:xfrm>
            <a:off x="551352" y="4151754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Տեխնիկական սպասարկում/պահպանում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Rectangle 9"/>
          <p:cNvSpPr txBox="1">
            <a:spLocks/>
          </p:cNvSpPr>
          <p:nvPr/>
        </p:nvSpPr>
        <p:spPr bwMode="ltGray">
          <a:xfrm>
            <a:off x="551352" y="4666891"/>
            <a:ext cx="1323709" cy="53483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Գործառնությունների հսկողություն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Rectangle 9"/>
          <p:cNvSpPr txBox="1">
            <a:spLocks/>
          </p:cNvSpPr>
          <p:nvPr/>
        </p:nvSpPr>
        <p:spPr bwMode="ltGray">
          <a:xfrm>
            <a:off x="551352" y="5260567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Օդանավակայանի գործառնություններ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Rectangle 9"/>
          <p:cNvSpPr txBox="1">
            <a:spLocks/>
          </p:cNvSpPr>
          <p:nvPr/>
        </p:nvSpPr>
        <p:spPr bwMode="ltGray">
          <a:xfrm>
            <a:off x="2297792" y="3597347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Մարքեթինգ</a:t>
            </a:r>
            <a:endParaRPr lang="hy-AM" sz="1000"/>
          </a:p>
        </p:txBody>
      </p:sp>
      <p:sp>
        <p:nvSpPr>
          <p:cNvPr id="25" name="Rectangle 9"/>
          <p:cNvSpPr txBox="1">
            <a:spLocks/>
          </p:cNvSpPr>
          <p:nvPr/>
        </p:nvSpPr>
        <p:spPr bwMode="ltGray">
          <a:xfrm>
            <a:off x="2297792" y="4151754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Վաճառք</a:t>
            </a:r>
            <a:endParaRPr lang="hy-AM" sz="1000"/>
          </a:p>
        </p:txBody>
      </p:sp>
      <p:sp>
        <p:nvSpPr>
          <p:cNvPr id="26" name="Rectangle 9"/>
          <p:cNvSpPr txBox="1">
            <a:spLocks/>
          </p:cNvSpPr>
          <p:nvPr/>
        </p:nvSpPr>
        <p:spPr bwMode="ltGray">
          <a:xfrm>
            <a:off x="2297792" y="4706160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Տեղաբաշխում</a:t>
            </a:r>
            <a:endParaRPr lang="hy-AM" sz="1000"/>
          </a:p>
        </p:txBody>
      </p:sp>
      <p:sp>
        <p:nvSpPr>
          <p:cNvPr id="27" name="Rectangle 9"/>
          <p:cNvSpPr txBox="1">
            <a:spLocks/>
          </p:cNvSpPr>
          <p:nvPr/>
        </p:nvSpPr>
        <p:spPr bwMode="ltGray">
          <a:xfrm>
            <a:off x="4033241" y="3597347"/>
            <a:ext cx="1334702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18288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Ցանցի կառավարում/պլանավորում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Rectangle 9"/>
          <p:cNvSpPr txBox="1">
            <a:spLocks/>
          </p:cNvSpPr>
          <p:nvPr/>
        </p:nvSpPr>
        <p:spPr bwMode="ltGray">
          <a:xfrm>
            <a:off x="4033241" y="4151754"/>
            <a:ext cx="1334702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Եկամտի/շահույթի կառավարում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Rectangle 9"/>
          <p:cNvSpPr txBox="1">
            <a:spLocks/>
          </p:cNvSpPr>
          <p:nvPr/>
        </p:nvSpPr>
        <p:spPr bwMode="ltGray">
          <a:xfrm>
            <a:off x="4033241" y="4706160"/>
            <a:ext cx="1334702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Բիզնեսի զարգացում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9"/>
          <p:cNvSpPr txBox="1">
            <a:spLocks/>
          </p:cNvSpPr>
          <p:nvPr/>
        </p:nvSpPr>
        <p:spPr bwMode="ltGray">
          <a:xfrm>
            <a:off x="5790673" y="3597347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dirty="0" smtClean="0">
                <a:latin typeface="Times New Roman" pitchFamily="18" charset="0"/>
                <a:cs typeface="Times New Roman" pitchFamily="18" charset="0"/>
              </a:rPr>
              <a:t>Ֆինանսական հաշվառում</a:t>
            </a:r>
            <a:endParaRPr lang="hy-AM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Rectangle 9"/>
          <p:cNvSpPr txBox="1">
            <a:spLocks/>
          </p:cNvSpPr>
          <p:nvPr/>
        </p:nvSpPr>
        <p:spPr bwMode="ltGray">
          <a:xfrm>
            <a:off x="5790673" y="4151754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Ֆինանսական հսկողություն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Rectangle 9"/>
          <p:cNvSpPr txBox="1">
            <a:spLocks/>
          </p:cNvSpPr>
          <p:nvPr/>
        </p:nvSpPr>
        <p:spPr bwMode="ltGray">
          <a:xfrm>
            <a:off x="5790673" y="4706160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Հաշվետվություններ ղեկավարությանը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Rectangle 9"/>
          <p:cNvSpPr txBox="1">
            <a:spLocks/>
          </p:cNvSpPr>
          <p:nvPr/>
        </p:nvSpPr>
        <p:spPr bwMode="ltGray">
          <a:xfrm>
            <a:off x="5790673" y="5260567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Իրավաբանական հարցեր/ պայմանագրեր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Rectangle 9"/>
          <p:cNvSpPr txBox="1">
            <a:spLocks/>
          </p:cNvSpPr>
          <p:nvPr/>
        </p:nvSpPr>
        <p:spPr bwMode="ltGray">
          <a:xfrm>
            <a:off x="533726" y="5814971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/>
              <a:t>ՏՏ</a:t>
            </a:r>
            <a:endParaRPr lang="hy-AM" sz="1000"/>
          </a:p>
        </p:txBody>
      </p:sp>
      <p:cxnSp>
        <p:nvCxnSpPr>
          <p:cNvPr id="38" name="Elbow Connector 37"/>
          <p:cNvCxnSpPr>
            <a:stCxn id="9" idx="2"/>
            <a:endCxn id="12" idx="3"/>
          </p:cNvCxnSpPr>
          <p:nvPr/>
        </p:nvCxnSpPr>
        <p:spPr bwMode="ltGray">
          <a:xfrm rot="5400000">
            <a:off x="4012132" y="1522266"/>
            <a:ext cx="262116" cy="857620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9" idx="2"/>
            <a:endCxn id="11" idx="1"/>
          </p:cNvCxnSpPr>
          <p:nvPr/>
        </p:nvCxnSpPr>
        <p:spPr bwMode="ltGray">
          <a:xfrm rot="16200000" flipH="1">
            <a:off x="4869751" y="1522266"/>
            <a:ext cx="262116" cy="857619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 bwMode="ltGray">
          <a:xfrm flipV="1">
            <a:off x="4571999" y="2748012"/>
            <a:ext cx="0" cy="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y-AM" sz="1200" smtClean="0">
              <a:solidFill>
                <a:schemeClr val="tx1"/>
              </a:solidFill>
            </a:endParaRPr>
          </a:p>
        </p:txBody>
      </p:sp>
      <p:cxnSp>
        <p:nvCxnSpPr>
          <p:cNvPr id="43" name="Elbow Connector 42"/>
          <p:cNvCxnSpPr>
            <a:stCxn id="41" idx="0"/>
            <a:endCxn id="15" idx="0"/>
          </p:cNvCxnSpPr>
          <p:nvPr/>
        </p:nvCxnSpPr>
        <p:spPr bwMode="ltGray">
          <a:xfrm rot="5400000">
            <a:off x="2672694" y="1154438"/>
            <a:ext cx="305733" cy="3492881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41" idx="0"/>
            <a:endCxn id="16" idx="0"/>
          </p:cNvCxnSpPr>
          <p:nvPr/>
        </p:nvCxnSpPr>
        <p:spPr bwMode="ltGray">
          <a:xfrm rot="5400000">
            <a:off x="3545914" y="2027658"/>
            <a:ext cx="305733" cy="1746441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41" idx="0"/>
            <a:endCxn id="17" idx="0"/>
          </p:cNvCxnSpPr>
          <p:nvPr/>
        </p:nvCxnSpPr>
        <p:spPr bwMode="ltGray">
          <a:xfrm rot="16200000" flipH="1">
            <a:off x="4419135" y="2900877"/>
            <a:ext cx="305733" cy="2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41" idx="0"/>
            <a:endCxn id="18" idx="0"/>
          </p:cNvCxnSpPr>
          <p:nvPr/>
        </p:nvCxnSpPr>
        <p:spPr bwMode="ltGray">
          <a:xfrm rot="16200000" flipH="1">
            <a:off x="5292355" y="2027657"/>
            <a:ext cx="305733" cy="1746442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41" idx="0"/>
            <a:endCxn id="19" idx="0"/>
          </p:cNvCxnSpPr>
          <p:nvPr/>
        </p:nvCxnSpPr>
        <p:spPr bwMode="ltGray">
          <a:xfrm rot="16200000" flipH="1">
            <a:off x="6165575" y="1154437"/>
            <a:ext cx="305733" cy="3492882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9"/>
          <p:cNvSpPr txBox="1"/>
          <p:nvPr/>
        </p:nvSpPr>
        <p:spPr bwMode="ltGray">
          <a:xfrm>
            <a:off x="283178" y="3053745"/>
            <a:ext cx="1591882" cy="447994"/>
          </a:xfrm>
          <a:prstGeom prst="rect">
            <a:avLst/>
          </a:prstGeom>
          <a:gradFill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24000">
                <a:schemeClr val="accent2"/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36000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1200"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smtClean="0"/>
              <a:t>Գործառնական</a:t>
            </a:r>
            <a:r>
              <a:rPr lang="hy-AM" smtClean="0"/>
              <a:t> </a:t>
            </a:r>
            <a:r>
              <a:rPr lang="hy-AM" sz="1100" smtClean="0"/>
              <a:t>տնօրեն</a:t>
            </a:r>
            <a:endParaRPr lang="hy-AM" sz="1100"/>
          </a:p>
        </p:txBody>
      </p:sp>
      <p:sp>
        <p:nvSpPr>
          <p:cNvPr id="57" name="Rectangle 56"/>
          <p:cNvSpPr/>
          <p:nvPr/>
        </p:nvSpPr>
        <p:spPr bwMode="ltGray">
          <a:xfrm flipV="1">
            <a:off x="283178" y="3345954"/>
            <a:ext cx="246015" cy="1557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200" smtClean="0">
              <a:solidFill>
                <a:schemeClr val="tx1"/>
              </a:solidFill>
            </a:endParaRPr>
          </a:p>
        </p:txBody>
      </p:sp>
      <p:cxnSp>
        <p:nvCxnSpPr>
          <p:cNvPr id="59" name="Elbow Connector 58"/>
          <p:cNvCxnSpPr>
            <a:stCxn id="57" idx="0"/>
            <a:endCxn id="20" idx="1"/>
          </p:cNvCxnSpPr>
          <p:nvPr/>
        </p:nvCxnSpPr>
        <p:spPr bwMode="ltGray">
          <a:xfrm rot="16200000" flipH="1">
            <a:off x="320076" y="3587849"/>
            <a:ext cx="317387" cy="14516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60"/>
          <p:cNvCxnSpPr>
            <a:stCxn id="57" idx="0"/>
            <a:endCxn id="21" idx="1"/>
          </p:cNvCxnSpPr>
          <p:nvPr/>
        </p:nvCxnSpPr>
        <p:spPr bwMode="ltGray">
          <a:xfrm rot="16200000" flipH="1">
            <a:off x="42872" y="3865053"/>
            <a:ext cx="871794" cy="14516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stCxn id="57" idx="0"/>
            <a:endCxn id="22" idx="1"/>
          </p:cNvCxnSpPr>
          <p:nvPr/>
        </p:nvCxnSpPr>
        <p:spPr bwMode="ltGray">
          <a:xfrm rot="16200000" flipH="1">
            <a:off x="-237516" y="4145441"/>
            <a:ext cx="1432571" cy="14516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57" idx="0"/>
            <a:endCxn id="23" idx="1"/>
          </p:cNvCxnSpPr>
          <p:nvPr/>
        </p:nvCxnSpPr>
        <p:spPr bwMode="ltGray">
          <a:xfrm rot="16200000" flipH="1">
            <a:off x="-511534" y="4419459"/>
            <a:ext cx="1980607" cy="14516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9"/>
          <p:cNvSpPr txBox="1"/>
          <p:nvPr/>
        </p:nvSpPr>
        <p:spPr bwMode="ltGray">
          <a:xfrm>
            <a:off x="2029618" y="3053745"/>
            <a:ext cx="1591882" cy="447994"/>
          </a:xfrm>
          <a:prstGeom prst="rect">
            <a:avLst/>
          </a:prstGeom>
          <a:gradFill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24000">
                <a:schemeClr val="accent2"/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36000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1200"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smtClean="0"/>
              <a:t>Կոմերցիոն տնօրեն</a:t>
            </a:r>
            <a:endParaRPr lang="hy-AM" sz="1100"/>
          </a:p>
        </p:txBody>
      </p:sp>
      <p:sp>
        <p:nvSpPr>
          <p:cNvPr id="68" name="Rectangle 67"/>
          <p:cNvSpPr/>
          <p:nvPr/>
        </p:nvSpPr>
        <p:spPr bwMode="ltGray">
          <a:xfrm flipV="1">
            <a:off x="2036197" y="3345954"/>
            <a:ext cx="246015" cy="1557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200" smtClean="0">
              <a:solidFill>
                <a:schemeClr val="tx1"/>
              </a:solidFill>
            </a:endParaRPr>
          </a:p>
        </p:txBody>
      </p:sp>
      <p:cxnSp>
        <p:nvCxnSpPr>
          <p:cNvPr id="69" name="Elbow Connector 68"/>
          <p:cNvCxnSpPr>
            <a:stCxn id="68" idx="0"/>
            <a:endCxn id="24" idx="1"/>
          </p:cNvCxnSpPr>
          <p:nvPr/>
        </p:nvCxnSpPr>
        <p:spPr bwMode="ltGray">
          <a:xfrm rot="16200000" flipH="1">
            <a:off x="2069805" y="3591138"/>
            <a:ext cx="317387" cy="138587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68" idx="0"/>
            <a:endCxn id="25" idx="1"/>
          </p:cNvCxnSpPr>
          <p:nvPr/>
        </p:nvCxnSpPr>
        <p:spPr bwMode="ltGray">
          <a:xfrm rot="16200000" flipH="1">
            <a:off x="1792601" y="3868342"/>
            <a:ext cx="871794" cy="138587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68" idx="0"/>
            <a:endCxn id="26" idx="1"/>
          </p:cNvCxnSpPr>
          <p:nvPr/>
        </p:nvCxnSpPr>
        <p:spPr bwMode="ltGray">
          <a:xfrm rot="16200000" flipH="1">
            <a:off x="1515398" y="4145545"/>
            <a:ext cx="1426200" cy="138587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9"/>
          <p:cNvSpPr txBox="1"/>
          <p:nvPr/>
        </p:nvSpPr>
        <p:spPr bwMode="ltGray">
          <a:xfrm>
            <a:off x="3776060" y="3053745"/>
            <a:ext cx="1591883" cy="447994"/>
          </a:xfrm>
          <a:prstGeom prst="rect">
            <a:avLst/>
          </a:prstGeom>
          <a:gradFill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24000">
                <a:schemeClr val="accent2"/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36000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1200"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dirty="0" smtClean="0"/>
              <a:t>Ռազմավարության և պլանավորման գծով տնօրեն </a:t>
            </a:r>
            <a:endParaRPr lang="hy-AM" sz="1100" dirty="0"/>
          </a:p>
        </p:txBody>
      </p:sp>
      <p:sp>
        <p:nvSpPr>
          <p:cNvPr id="79" name="Rectangle 78"/>
          <p:cNvSpPr/>
          <p:nvPr/>
        </p:nvSpPr>
        <p:spPr bwMode="ltGray">
          <a:xfrm flipV="1">
            <a:off x="3773449" y="3345954"/>
            <a:ext cx="246015" cy="1557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200" smtClean="0">
              <a:solidFill>
                <a:schemeClr val="tx1"/>
              </a:solidFill>
            </a:endParaRPr>
          </a:p>
        </p:txBody>
      </p:sp>
      <p:cxnSp>
        <p:nvCxnSpPr>
          <p:cNvPr id="80" name="Elbow Connector 79"/>
          <p:cNvCxnSpPr>
            <a:stCxn id="79" idx="0"/>
            <a:endCxn id="27" idx="1"/>
          </p:cNvCxnSpPr>
          <p:nvPr/>
        </p:nvCxnSpPr>
        <p:spPr bwMode="ltGray">
          <a:xfrm rot="16200000" flipH="1">
            <a:off x="3806156" y="3592040"/>
            <a:ext cx="317387" cy="13678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80"/>
          <p:cNvCxnSpPr>
            <a:stCxn id="79" idx="0"/>
            <a:endCxn id="28" idx="1"/>
          </p:cNvCxnSpPr>
          <p:nvPr/>
        </p:nvCxnSpPr>
        <p:spPr bwMode="ltGray">
          <a:xfrm rot="16200000" flipH="1">
            <a:off x="3528952" y="3869244"/>
            <a:ext cx="871794" cy="13678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stCxn id="79" idx="0"/>
            <a:endCxn id="29" idx="1"/>
          </p:cNvCxnSpPr>
          <p:nvPr/>
        </p:nvCxnSpPr>
        <p:spPr bwMode="ltGray">
          <a:xfrm rot="16200000" flipH="1">
            <a:off x="3251749" y="4146447"/>
            <a:ext cx="1426200" cy="13678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9"/>
          <p:cNvSpPr txBox="1">
            <a:spLocks/>
          </p:cNvSpPr>
          <p:nvPr/>
        </p:nvSpPr>
        <p:spPr bwMode="ltGray">
          <a:xfrm>
            <a:off x="5522501" y="3053745"/>
            <a:ext cx="1591882" cy="447994"/>
          </a:xfrm>
          <a:prstGeom prst="rect">
            <a:avLst/>
          </a:prstGeom>
          <a:gradFill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24000">
                <a:schemeClr val="accent2"/>
              </a:gs>
            </a:gsLst>
            <a:lin ang="162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36000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1200"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dirty="0" smtClean="0"/>
              <a:t>Ֆինանսական տնօրեն</a:t>
            </a:r>
            <a:endParaRPr lang="hy-AM" sz="1100" dirty="0"/>
          </a:p>
        </p:txBody>
      </p:sp>
      <p:sp>
        <p:nvSpPr>
          <p:cNvPr id="86" name="Rectangle 85"/>
          <p:cNvSpPr/>
          <p:nvPr/>
        </p:nvSpPr>
        <p:spPr bwMode="ltGray">
          <a:xfrm flipV="1">
            <a:off x="5522501" y="3345954"/>
            <a:ext cx="246015" cy="1557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200" smtClean="0">
              <a:solidFill>
                <a:schemeClr val="tx1"/>
              </a:solidFill>
            </a:endParaRPr>
          </a:p>
        </p:txBody>
      </p:sp>
      <p:cxnSp>
        <p:nvCxnSpPr>
          <p:cNvPr id="87" name="Elbow Connector 86"/>
          <p:cNvCxnSpPr>
            <a:stCxn id="86" idx="0"/>
            <a:endCxn id="30" idx="1"/>
          </p:cNvCxnSpPr>
          <p:nvPr/>
        </p:nvCxnSpPr>
        <p:spPr bwMode="ltGray">
          <a:xfrm rot="16200000" flipH="1">
            <a:off x="5559398" y="3587850"/>
            <a:ext cx="317387" cy="14516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/>
          <p:cNvCxnSpPr>
            <a:stCxn id="86" idx="0"/>
            <a:endCxn id="31" idx="1"/>
          </p:cNvCxnSpPr>
          <p:nvPr/>
        </p:nvCxnSpPr>
        <p:spPr bwMode="ltGray">
          <a:xfrm rot="16200000" flipH="1">
            <a:off x="5282194" y="3865054"/>
            <a:ext cx="871794" cy="14516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>
            <a:stCxn id="86" idx="0"/>
            <a:endCxn id="32" idx="1"/>
          </p:cNvCxnSpPr>
          <p:nvPr/>
        </p:nvCxnSpPr>
        <p:spPr bwMode="ltGray">
          <a:xfrm rot="16200000" flipH="1">
            <a:off x="5004991" y="4142257"/>
            <a:ext cx="1426200" cy="14516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92"/>
          <p:cNvCxnSpPr>
            <a:stCxn id="86" idx="0"/>
            <a:endCxn id="33" idx="1"/>
          </p:cNvCxnSpPr>
          <p:nvPr/>
        </p:nvCxnSpPr>
        <p:spPr bwMode="ltGray">
          <a:xfrm rot="16200000" flipH="1">
            <a:off x="4727788" y="4419460"/>
            <a:ext cx="1980607" cy="14516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>
            <a:stCxn id="41" idx="2"/>
            <a:endCxn id="9" idx="2"/>
          </p:cNvCxnSpPr>
          <p:nvPr/>
        </p:nvCxnSpPr>
        <p:spPr bwMode="ltGray">
          <a:xfrm flipV="1">
            <a:off x="4572000" y="1820018"/>
            <a:ext cx="0" cy="927993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9" idx="2"/>
            <a:endCxn id="14" idx="3"/>
          </p:cNvCxnSpPr>
          <p:nvPr/>
        </p:nvCxnSpPr>
        <p:spPr bwMode="ltGray">
          <a:xfrm rot="5400000">
            <a:off x="3768688" y="1765710"/>
            <a:ext cx="749005" cy="857620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stCxn id="9" idx="2"/>
            <a:endCxn id="13" idx="1"/>
          </p:cNvCxnSpPr>
          <p:nvPr/>
        </p:nvCxnSpPr>
        <p:spPr bwMode="ltGray">
          <a:xfrm rot="16200000" flipH="1">
            <a:off x="4626307" y="1765710"/>
            <a:ext cx="749005" cy="857619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9"/>
          <p:cNvSpPr txBox="1">
            <a:spLocks/>
          </p:cNvSpPr>
          <p:nvPr/>
        </p:nvSpPr>
        <p:spPr bwMode="ltGray">
          <a:xfrm>
            <a:off x="2282211" y="5260566"/>
            <a:ext cx="1323709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Հաճախորդների սպասարկում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91" name="Elbow Connector 90"/>
          <p:cNvCxnSpPr>
            <a:stCxn id="68" idx="0"/>
            <a:endCxn id="90" idx="1"/>
          </p:cNvCxnSpPr>
          <p:nvPr/>
        </p:nvCxnSpPr>
        <p:spPr bwMode="ltGray">
          <a:xfrm rot="16200000" flipH="1">
            <a:off x="1230405" y="4430539"/>
            <a:ext cx="1980606" cy="12300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"/>
          <p:cNvSpPr txBox="1">
            <a:spLocks/>
          </p:cNvSpPr>
          <p:nvPr/>
        </p:nvSpPr>
        <p:spPr bwMode="ltGray">
          <a:xfrm>
            <a:off x="4033241" y="5260566"/>
            <a:ext cx="1334702" cy="44355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Գործընկերություն</a:t>
            </a:r>
            <a:endParaRPr lang="hy-AM" sz="1000"/>
          </a:p>
        </p:txBody>
      </p:sp>
      <p:cxnSp>
        <p:nvCxnSpPr>
          <p:cNvPr id="94" name="Elbow Connector 93"/>
          <p:cNvCxnSpPr>
            <a:stCxn id="79" idx="0"/>
            <a:endCxn id="92" idx="1"/>
          </p:cNvCxnSpPr>
          <p:nvPr/>
        </p:nvCxnSpPr>
        <p:spPr bwMode="ltGray">
          <a:xfrm rot="16200000" flipH="1">
            <a:off x="2974546" y="4423650"/>
            <a:ext cx="1980606" cy="13678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Elbow Connector 94"/>
          <p:cNvCxnSpPr>
            <a:stCxn id="57" idx="0"/>
            <a:endCxn id="34" idx="1"/>
          </p:cNvCxnSpPr>
          <p:nvPr/>
        </p:nvCxnSpPr>
        <p:spPr bwMode="ltGray">
          <a:xfrm rot="16200000" flipH="1">
            <a:off x="-797549" y="4705474"/>
            <a:ext cx="2535011" cy="127540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812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413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52306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16" name="think-cell Slide" r:id="rId42" imgW="0" imgH="0" progId="TCLayout.ActiveDocument.1">
                  <p:embed/>
                </p:oleObj>
              </mc:Choice>
              <mc:Fallback>
                <p:oleObj name="think-cell Slide" r:id="rId42" imgW="0" imgH="0" progId="TCLayout.ActiveDocument.1">
                  <p:embed/>
                  <p:pic>
                    <p:nvPicPr>
                      <p:cNvPr id="0" name="AutoShape 1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413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defTabSz="873033"/>
            <a:endParaRPr lang="de-DE" sz="1100" u="sng">
              <a:cs typeface="Arial" pitchFamily="34" charset="0"/>
            </a:endParaRPr>
          </a:p>
        </p:txBody>
      </p:sp>
      <p:sp>
        <p:nvSpPr>
          <p:cNvPr id="30413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6079" y="892270"/>
            <a:ext cx="8794114" cy="510543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hy-AM"/>
          </a:p>
        </p:txBody>
      </p:sp>
      <p:sp>
        <p:nvSpPr>
          <p:cNvPr id="304133" name="Rectangle 5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121488" y="393565"/>
            <a:ext cx="8794114" cy="430887"/>
          </a:xfrm>
        </p:spPr>
        <p:txBody>
          <a:bodyPr/>
          <a:lstStyle/>
          <a:p>
            <a:r>
              <a:rPr lang="hy-AM" sz="1400" smtClean="0"/>
              <a:t>Ստորև ներկայացված ավիաընկերությունները փորձել են արդյունավետություն </a:t>
            </a:r>
            <a:br>
              <a:rPr lang="hy-AM" sz="1400" smtClean="0"/>
            </a:br>
            <a:r>
              <a:rPr lang="hy-AM" sz="1400" smtClean="0"/>
              <a:t>ապահովել հիմնականում ապրանքայնացման հաղթահարման և ցածր գների միջոցով: </a:t>
            </a:r>
            <a:endParaRPr lang="hy-AM" sz="1400"/>
          </a:p>
        </p:txBody>
      </p:sp>
      <p:sp>
        <p:nvSpPr>
          <p:cNvPr id="30413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27208" y="4656767"/>
            <a:ext cx="1208401" cy="6122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9944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hy-AM" sz="1000" dirty="0" smtClean="0">
                <a:solidFill>
                  <a:schemeClr val="tx2"/>
                </a:solidFill>
              </a:rPr>
              <a:t>Բիզնես-մոդելի առաձգականության բարելավում </a:t>
            </a:r>
            <a:endParaRPr lang="hy-AM" sz="1000" dirty="0">
              <a:solidFill>
                <a:schemeClr val="tx2"/>
              </a:solidFill>
            </a:endParaRPr>
          </a:p>
        </p:txBody>
      </p:sp>
      <p:sp>
        <p:nvSpPr>
          <p:cNvPr id="304135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7208" y="3910064"/>
            <a:ext cx="1208401" cy="6892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9944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hy-AM" sz="1000" dirty="0" smtClean="0">
                <a:solidFill>
                  <a:schemeClr val="tx2"/>
                </a:solidFill>
              </a:rPr>
              <a:t>Կառավարության օրակարգի վրա ազդեցություն </a:t>
            </a:r>
            <a:endParaRPr lang="hy-AM" sz="1000" dirty="0">
              <a:solidFill>
                <a:schemeClr val="tx2"/>
              </a:solidFill>
            </a:endParaRPr>
          </a:p>
        </p:txBody>
      </p:sp>
      <p:pic>
        <p:nvPicPr>
          <p:cNvPr id="304136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183545" y="988045"/>
            <a:ext cx="680333" cy="516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4137" name="Picture 9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500979" y="1103047"/>
            <a:ext cx="1002682" cy="35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4138" name="Picture 10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96522" y="1059313"/>
            <a:ext cx="1046417" cy="401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4139" name="Picture 11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89997" y="1116005"/>
            <a:ext cx="1107971" cy="36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4140" name="Rectangle 1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076579" y="3964676"/>
            <a:ext cx="236827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Սեփականության նորարարական կառուցվածքներ և կառավարության աջակցությունը Հարավային Ամերիկայում կոնսոլիդացման ուղղությամբ </a:t>
            </a:r>
            <a:endParaRPr lang="hy-AM" sz="800" dirty="0"/>
          </a:p>
        </p:txBody>
      </p:sp>
      <p:sp>
        <p:nvSpPr>
          <p:cNvPr id="304141" name="Rectangle 1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603642" y="1525799"/>
            <a:ext cx="2490686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Հաճախորդների ներգրավում առևտրային նշանի միջոցով (պահանջում է ներդրումներ)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Բարձր միջնորդավճարներ՝ </a:t>
            </a:r>
            <a:r>
              <a:rPr lang="en-US" sz="800" dirty="0" err="1" smtClean="0"/>
              <a:t>զբոսաշրջային</a:t>
            </a:r>
            <a:r>
              <a:rPr lang="en-US" sz="800" dirty="0" smtClean="0"/>
              <a:t> </a:t>
            </a:r>
            <a:r>
              <a:rPr lang="en-US" sz="800" dirty="0" err="1" smtClean="0"/>
              <a:t>գործակալություններին</a:t>
            </a:r>
            <a:r>
              <a:rPr lang="hy-AM" sz="800" dirty="0" smtClean="0"/>
              <a:t> խրախուսելու նպատակով </a:t>
            </a:r>
            <a:endParaRPr lang="hy-AM" sz="800" dirty="0"/>
          </a:p>
        </p:txBody>
      </p:sp>
      <p:sp>
        <p:nvSpPr>
          <p:cNvPr id="304142" name="Rectangle 1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536111" y="2416659"/>
            <a:ext cx="14141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Եզակի ուղղություններով ուղևորների թվի բարձր համամասնություն</a:t>
            </a:r>
            <a:endParaRPr lang="hy-AM" sz="800" dirty="0"/>
          </a:p>
        </p:txBody>
      </p:sp>
      <p:sp>
        <p:nvSpPr>
          <p:cNvPr id="304143" name="Rectangle 1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076580" y="2416659"/>
            <a:ext cx="184985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Եզակի ուղղություններով ուղևորների թվի բարձր համամասնություն (25%)</a:t>
            </a:r>
            <a:r>
              <a:rPr lang="hy-AM" sz="800" baseline="30000" dirty="0" smtClean="0">
                <a:latin typeface="Sylfaen" pitchFamily="18" charset="0"/>
              </a:rPr>
              <a:t>1</a:t>
            </a:r>
            <a:endParaRPr lang="hy-AM" sz="800" baseline="30000" dirty="0">
              <a:latin typeface="Sylfaen" pitchFamily="18" charset="0"/>
            </a:endParaRPr>
          </a:p>
        </p:txBody>
      </p:sp>
      <p:sp>
        <p:nvSpPr>
          <p:cNvPr id="304144" name="Rectangle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27208" y="1525800"/>
            <a:ext cx="1208401" cy="6122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9944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hy-AM" sz="1000" dirty="0" smtClean="0">
                <a:solidFill>
                  <a:schemeClr val="tx2"/>
                </a:solidFill>
              </a:rPr>
              <a:t>Առաջին ընտրությունը …</a:t>
            </a:r>
            <a:endParaRPr lang="hy-AM" sz="1000" dirty="0">
              <a:solidFill>
                <a:schemeClr val="tx2"/>
              </a:solidFill>
            </a:endParaRPr>
          </a:p>
        </p:txBody>
      </p:sp>
      <p:sp>
        <p:nvSpPr>
          <p:cNvPr id="304145" name="Rectangle 17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619164" y="2355243"/>
            <a:ext cx="2265529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700" dirty="0" smtClean="0"/>
              <a:t>Որոշակի ուղղություններով ճանապարհորդող և արտոնյալ պայմաններից օգտվող ուղևորների թվի բարձր համամասնություն (55%)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700" dirty="0" smtClean="0"/>
              <a:t>Փոքր և միայն կարճ թռիչքներ կատարող օդանավերի օգտագործում պասիվ շուկաներում</a:t>
            </a:r>
            <a:endParaRPr lang="hy-AM" sz="700" dirty="0">
              <a:solidFill>
                <a:srgbClr val="FF0000"/>
              </a:solidFill>
            </a:endParaRPr>
          </a:p>
        </p:txBody>
      </p:sp>
      <p:sp>
        <p:nvSpPr>
          <p:cNvPr id="304146" name="Rectangle 1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03642" y="4656767"/>
            <a:ext cx="180612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3.8 մլրդ ԱՄՆ դոլար կանխիկ հաշվեկշռում (2010 թ-ի եկամտի 26%-ը )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47" name="Rectangle 1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536111" y="4656767"/>
            <a:ext cx="1414121" cy="46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2.6 մլրդ ԱՄՆ դոլար կանխիկ հաշվեկշռում (2010 թ-ի եկամտի 56%-ը)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48" name="Rectangle 2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076580" y="4656767"/>
            <a:ext cx="184985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0.6 մլրդ ԱՄՆ դոլար կանխիկ հաշվեկշռում (2010 թ-ի եկամտի 14%-ը)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49" name="Rectangle 21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7052786" y="4656767"/>
            <a:ext cx="1785064" cy="46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0.4 մլրդ ԱՄՆ դոլար կանխիկ հաշվեկշռում (2010 թ-ի եկամտի 28%-ը)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50" name="Line 22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327208" y="4593597"/>
            <a:ext cx="8510642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hy-AM"/>
          </a:p>
        </p:txBody>
      </p:sp>
      <p:sp>
        <p:nvSpPr>
          <p:cNvPr id="304151" name="Line 23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306737" y="3930401"/>
            <a:ext cx="8510642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hy-AM"/>
          </a:p>
        </p:txBody>
      </p:sp>
      <p:sp>
        <p:nvSpPr>
          <p:cNvPr id="304152" name="Rectangle 24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624113" y="3944183"/>
            <a:ext cx="1931128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Երթևեկության իրավունքների ազատականացում ընդլայնման նպատակով 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Սահմանափակումների դեմ լոբբինգ (օր.՝ Կանադա, Գերմանիա)</a:t>
            </a:r>
            <a:endParaRPr lang="hy-AM" sz="800" dirty="0"/>
          </a:p>
        </p:txBody>
      </p:sp>
      <p:sp>
        <p:nvSpPr>
          <p:cNvPr id="304153" name="Rectangle 2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529287" y="3964656"/>
            <a:ext cx="1472617" cy="391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Բարձրաձայն</a:t>
            </a:r>
            <a:r>
              <a:rPr lang="en-US" sz="800" dirty="0" err="1" smtClean="0"/>
              <a:t>ված</a:t>
            </a:r>
            <a:r>
              <a:rPr lang="hy-AM" sz="800" dirty="0" smtClean="0"/>
              <a:t> լոբբի</a:t>
            </a:r>
            <a:r>
              <a:rPr lang="en-US" sz="800" dirty="0" err="1" smtClean="0"/>
              <a:t>նգ</a:t>
            </a:r>
            <a:r>
              <a:rPr lang="hy-AM" sz="800" dirty="0" smtClean="0"/>
              <a:t> ԵՄ հովանավորչության դեմ </a:t>
            </a:r>
            <a:endParaRPr lang="hy-AM" sz="800" dirty="0"/>
          </a:p>
        </p:txBody>
      </p:sp>
      <p:sp>
        <p:nvSpPr>
          <p:cNvPr id="304154" name="Rectangle 2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27208" y="3163363"/>
            <a:ext cx="1208401" cy="6122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9944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hy-AM" sz="1000" dirty="0" smtClean="0">
                <a:solidFill>
                  <a:schemeClr val="tx2"/>
                </a:solidFill>
              </a:rPr>
              <a:t>Մրցակիցների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en-US" sz="1000" dirty="0" err="1" smtClean="0">
                <a:solidFill>
                  <a:schemeClr val="tx2"/>
                </a:solidFill>
              </a:rPr>
              <a:t>հետ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en-US" sz="1000" dirty="0" err="1" smtClean="0">
                <a:solidFill>
                  <a:schemeClr val="tx2"/>
                </a:solidFill>
              </a:rPr>
              <a:t>համեմատ</a:t>
            </a:r>
            <a:r>
              <a:rPr lang="hy-AM" sz="1000" dirty="0" smtClean="0">
                <a:solidFill>
                  <a:schemeClr val="tx2"/>
                </a:solidFill>
              </a:rPr>
              <a:t> ցածր գին </a:t>
            </a:r>
            <a:endParaRPr lang="hy-AM" sz="1000" dirty="0">
              <a:solidFill>
                <a:schemeClr val="tx2"/>
              </a:solidFill>
            </a:endParaRPr>
          </a:p>
        </p:txBody>
      </p:sp>
      <p:sp>
        <p:nvSpPr>
          <p:cNvPr id="304155" name="Rectangle 27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5076580" y="3163362"/>
            <a:ext cx="1849858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Ծախսերի առավելագույն կրճատում շահութաբերությունը նույնիսկ ապրանքային գների մակարդակով ավելացնելու նպատակով</a:t>
            </a:r>
            <a:endParaRPr lang="hy-AM" sz="800" dirty="0"/>
          </a:p>
        </p:txBody>
      </p:sp>
      <p:sp>
        <p:nvSpPr>
          <p:cNvPr id="304156" name="Line 28"/>
          <p:cNvSpPr>
            <a:spLocks noChangeShapeType="1"/>
          </p:cNvSpPr>
          <p:nvPr>
            <p:custDataLst>
              <p:tags r:id="rId28"/>
            </p:custDataLst>
          </p:nvPr>
        </p:nvSpPr>
        <p:spPr bwMode="gray">
          <a:xfrm>
            <a:off x="327208" y="3101812"/>
            <a:ext cx="8510642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hy-AM"/>
          </a:p>
        </p:txBody>
      </p:sp>
      <p:sp>
        <p:nvSpPr>
          <p:cNvPr id="304157" name="Rectangle 29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3536111" y="3132160"/>
            <a:ext cx="1534032" cy="764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Ծախսերի առավելագույն կրճատում շահութաբերությունը նույնիսկ ապրանքային գների մակարդակով ավելացնելու նպատակով</a:t>
            </a:r>
            <a:endParaRPr lang="hy-AM" sz="800" dirty="0"/>
          </a:p>
        </p:txBody>
      </p:sp>
      <p:sp>
        <p:nvSpPr>
          <p:cNvPr id="304159" name="Rectangle 3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27208" y="2416660"/>
            <a:ext cx="1208401" cy="6122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9944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solidFill>
                  <a:schemeClr val="tx2"/>
                </a:solidFill>
              </a:rPr>
              <a:t>… կամ միակ ընտրությունը </a:t>
            </a:r>
            <a:endParaRPr lang="hy-AM" sz="1000">
              <a:solidFill>
                <a:schemeClr val="tx2"/>
              </a:solidFill>
            </a:endParaRPr>
          </a:p>
        </p:txBody>
      </p:sp>
      <p:sp>
        <p:nvSpPr>
          <p:cNvPr id="304160" name="Line 32"/>
          <p:cNvSpPr>
            <a:spLocks noChangeShapeType="1"/>
          </p:cNvSpPr>
          <p:nvPr>
            <p:custDataLst>
              <p:tags r:id="rId31"/>
            </p:custDataLst>
          </p:nvPr>
        </p:nvSpPr>
        <p:spPr bwMode="gray">
          <a:xfrm>
            <a:off x="327208" y="2364828"/>
            <a:ext cx="8510642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hy-AM"/>
          </a:p>
        </p:txBody>
      </p:sp>
      <p:sp>
        <p:nvSpPr>
          <p:cNvPr id="304161" name="Rectangle 33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569493" y="2368891"/>
            <a:ext cx="223140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600" dirty="0" smtClean="0">
                <a:cs typeface="Times New Roman" pitchFamily="18" charset="0"/>
              </a:rPr>
              <a:t>Որոշակի ուղղություններով (զույգ քաղաքներ` մեկնման կետ և նպատակակետը) ճանապարհորդող և արտոնյալ պայմաններից օգտվող ուղևորների քանակի բարձր համամասնություն՝ մրցակցող ավիափոխադրողների համեմատ (46%)՝ պայմանավորված երկրորդական կարևորության քաղաքների միջև հաղորդակցման ապահովմամբ</a:t>
            </a:r>
            <a:endParaRPr lang="hy-AM" sz="600" dirty="0">
              <a:cs typeface="Times New Roman" pitchFamily="18" charset="0"/>
            </a:endParaRPr>
          </a:p>
        </p:txBody>
      </p:sp>
      <p:sp>
        <p:nvSpPr>
          <p:cNvPr id="304163" name="Rectangle 35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327208" y="5393751"/>
            <a:ext cx="1208401" cy="6122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9944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hy-AM" sz="1000" dirty="0" smtClean="0">
                <a:solidFill>
                  <a:schemeClr val="tx2"/>
                </a:solidFill>
              </a:rPr>
              <a:t>Աճ</a:t>
            </a:r>
            <a:endParaRPr lang="hy-AM" sz="1000" dirty="0">
              <a:solidFill>
                <a:schemeClr val="tx2"/>
              </a:solidFill>
            </a:endParaRPr>
          </a:p>
        </p:txBody>
      </p:sp>
      <p:sp>
        <p:nvSpPr>
          <p:cNvPr id="304164" name="Line 36"/>
          <p:cNvSpPr>
            <a:spLocks noChangeShapeType="1"/>
          </p:cNvSpPr>
          <p:nvPr>
            <p:custDataLst>
              <p:tags r:id="rId34"/>
            </p:custDataLst>
          </p:nvPr>
        </p:nvSpPr>
        <p:spPr bwMode="gray">
          <a:xfrm>
            <a:off x="327208" y="5330581"/>
            <a:ext cx="8510642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hy-AM"/>
          </a:p>
        </p:txBody>
      </p:sp>
      <p:sp>
        <p:nvSpPr>
          <p:cNvPr id="304165" name="Rectangle 37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603642" y="5393751"/>
            <a:ext cx="180612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Բաղադրյալ միջին տարեկան աճի տեմպ 2005 թ-ից 2011թ.` 17% 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66" name="Rectangle 38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3536111" y="5393751"/>
            <a:ext cx="1414121" cy="385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Բաղադրյալ միջին տարեկան աճի տեմպ 2005 թ-ից 2011 թ.` 23%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67" name="Rectangle 39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076580" y="5393751"/>
            <a:ext cx="184985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Բաղադրյալ միջին տարեկան աճի տեմպ 2005 թ-ից 2011 թ.` 14% 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68" name="Rectangle 40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052786" y="5393751"/>
            <a:ext cx="1785064" cy="310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>
                <a:latin typeface="Sylfaen" pitchFamily="18" charset="0"/>
              </a:rPr>
              <a:t>Բաղադրյալ միջին տարեկան աճի տեմպ 2005 թ-ից 2011 թ.` 20% </a:t>
            </a:r>
            <a:endParaRPr lang="hy-AM" sz="800" dirty="0">
              <a:latin typeface="Sylfaen" pitchFamily="18" charset="0"/>
            </a:endParaRPr>
          </a:p>
        </p:txBody>
      </p:sp>
      <p:sp>
        <p:nvSpPr>
          <p:cNvPr id="304169" name="Rectangle 41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5076580" y="1525800"/>
            <a:ext cx="1849858" cy="451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hy-AM" sz="800" dirty="0" smtClean="0"/>
              <a:t>Հաճախակի թռիչքների ծրագրի արգելում Լատինական Ամերիկայում </a:t>
            </a:r>
          </a:p>
          <a:p>
            <a:pPr marL="197607" lvl="1" indent="-195987" defTabSz="913526"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hy-AM" sz="800" baseline="30000" dirty="0"/>
          </a:p>
        </p:txBody>
      </p:sp>
      <p:sp>
        <p:nvSpPr>
          <p:cNvPr id="48" name="McK 5. Source"/>
          <p:cNvSpPr>
            <a:spLocks noChangeArrowheads="1"/>
          </p:cNvSpPr>
          <p:nvPr/>
        </p:nvSpPr>
        <p:spPr bwMode="auto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Աղբյուր՝ ԱՊՈՒ տվյալների բազա, IATA</a:t>
            </a:r>
            <a:endParaRPr lang="hy-AM" sz="100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McK 4. Footnote"/>
          <p:cNvSpPr txBox="1">
            <a:spLocks noChangeArrowheads="1"/>
          </p:cNvSpPr>
          <p:nvPr/>
        </p:nvSpPr>
        <p:spPr bwMode="ltGray">
          <a:xfrm>
            <a:off x="174944" y="6396358"/>
            <a:ext cx="879411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altLang="ja-JP" smtClean="0">
                <a:ea typeface="SimSun" pitchFamily="2" charset="-122"/>
              </a:rPr>
              <a:t>1 Հիմնված է LAM –ում LAN ցանցի միացման տվյալների վրա</a:t>
            </a:r>
            <a:endParaRPr lang="hy-AM" altLang="ja-JP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64367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166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48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9364" y="93630"/>
            <a:ext cx="7174417" cy="738664"/>
          </a:xfrm>
        </p:spPr>
        <p:txBody>
          <a:bodyPr/>
          <a:lstStyle/>
          <a:p>
            <a:pPr algn="ctr"/>
            <a:r>
              <a:rPr lang="hy-AM" sz="1600" dirty="0" smtClean="0">
                <a:latin typeface="GHEA Grapalat"/>
                <a:cs typeface="GHEA Grapalat"/>
              </a:rPr>
              <a:t>Սույն փաստաթուղթը եզրակացությունն</a:t>
            </a:r>
            <a:r>
              <a:rPr lang="en-US" sz="1600" dirty="0" err="1" smtClean="0">
                <a:latin typeface="GHEA Grapalat"/>
                <a:cs typeface="GHEA Grapalat"/>
              </a:rPr>
              <a:t>երն</a:t>
            </a:r>
            <a:r>
              <a:rPr lang="hy-AM" sz="1600" dirty="0" smtClean="0">
                <a:latin typeface="GHEA Grapalat"/>
                <a:cs typeface="GHEA Grapalat"/>
              </a:rPr>
              <a:t> ուղեկցող հիմնավորող փաստաթղթերից մեկն է: </a:t>
            </a:r>
            <a:br>
              <a:rPr lang="hy-AM" sz="1600" dirty="0" smtClean="0">
                <a:latin typeface="GHEA Grapalat"/>
                <a:cs typeface="GHEA Grapalat"/>
              </a:rPr>
            </a:br>
            <a:endParaRPr lang="hy-AM" sz="1600" dirty="0">
              <a:latin typeface="GHEA Grapalat"/>
              <a:cs typeface="GHEA Grapalat"/>
            </a:endParaRPr>
          </a:p>
        </p:txBody>
      </p:sp>
      <p:sp>
        <p:nvSpPr>
          <p:cNvPr id="12" name="Rectangle 12"/>
          <p:cNvSpPr txBox="1"/>
          <p:nvPr>
            <p:custDataLst>
              <p:tags r:id="rId4"/>
            </p:custDataLst>
          </p:nvPr>
        </p:nvSpPr>
        <p:spPr bwMode="gray">
          <a:xfrm>
            <a:off x="3505200" y="4555759"/>
            <a:ext cx="2380245" cy="15081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400" dirty="0" smtClean="0">
                <a:solidFill>
                  <a:schemeClr val="accent2"/>
                </a:solidFill>
              </a:rPr>
              <a:t>Սույն փաստաթղթում ներկայացված են տեղական ավիափոխադրողի կենսունակության բարձրացմանն ուղղված լիցենզավորման չափանիշները</a:t>
            </a:r>
            <a:r>
              <a:rPr lang="en-US" sz="1400" dirty="0" smtClean="0">
                <a:solidFill>
                  <a:schemeClr val="accent2"/>
                </a:solidFill>
              </a:rPr>
              <a:t>:</a:t>
            </a:r>
            <a:endParaRPr lang="hy-AM" sz="1400" dirty="0">
              <a:solidFill>
                <a:schemeClr val="accent2"/>
              </a:solidFill>
            </a:endParaRPr>
          </a:p>
        </p:txBody>
      </p:sp>
      <p:grpSp>
        <p:nvGrpSpPr>
          <p:cNvPr id="8" name="Group 7"/>
          <p:cNvGrpSpPr/>
          <p:nvPr>
            <p:custDataLst>
              <p:tags r:id="rId5"/>
            </p:custDataLst>
          </p:nvPr>
        </p:nvGrpSpPr>
        <p:grpSpPr>
          <a:xfrm>
            <a:off x="4627785" y="1687698"/>
            <a:ext cx="2528033" cy="1895806"/>
            <a:chOff x="4194299" y="1592449"/>
            <a:chExt cx="2234356" cy="1675574"/>
          </a:xfrm>
        </p:grpSpPr>
        <p:pic>
          <p:nvPicPr>
            <p:cNvPr id="799769" name="Picture 25"/>
            <p:cNvPicPr>
              <a:picLocks noChangeArrowheads="1"/>
            </p:cNvPicPr>
            <p:nvPr>
              <p:custDataLst>
                <p:tags r:id="rId18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4299" y="1592449"/>
              <a:ext cx="2234356" cy="167557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" name="Rectangle 3"/>
            <p:cNvSpPr txBox="1"/>
            <p:nvPr>
              <p:custDataLst>
                <p:tags r:id="rId19"/>
              </p:custDataLst>
            </p:nvPr>
          </p:nvSpPr>
          <p:spPr>
            <a:xfrm>
              <a:off x="4262853" y="1641393"/>
              <a:ext cx="2108896" cy="571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hy-AM" sz="1400" i="1" dirty="0" smtClean="0"/>
            </a:p>
            <a:p>
              <a:r>
                <a:rPr lang="hy-AM" sz="1400" dirty="0" smtClean="0">
                  <a:solidFill>
                    <a:schemeClr val="accent6"/>
                  </a:solidFill>
                </a:rPr>
                <a:t>Արդյունքները հիմնավորող մանրամասն վերլուծություն</a:t>
              </a:r>
            </a:p>
          </p:txBody>
        </p:sp>
      </p:grpSp>
      <p:grpSp>
        <p:nvGrpSpPr>
          <p:cNvPr id="7" name="Group 6"/>
          <p:cNvGrpSpPr/>
          <p:nvPr>
            <p:custDataLst>
              <p:tags r:id="rId6"/>
            </p:custDataLst>
          </p:nvPr>
        </p:nvGrpSpPr>
        <p:grpSpPr>
          <a:xfrm>
            <a:off x="5317076" y="2678552"/>
            <a:ext cx="2528033" cy="1895806"/>
            <a:chOff x="4559124" y="2510494"/>
            <a:chExt cx="2234356" cy="1675574"/>
          </a:xfrm>
        </p:grpSpPr>
        <p:pic>
          <p:nvPicPr>
            <p:cNvPr id="26" name="Picture 25"/>
            <p:cNvPicPr>
              <a:picLocks noChangeArrowheads="1"/>
            </p:cNvPicPr>
            <p:nvPr>
              <p:custDataLst>
                <p:tags r:id="rId17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9124" y="2510494"/>
              <a:ext cx="2234356" cy="1675574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pic>
        <p:sp>
          <p:nvSpPr>
            <p:cNvPr id="27" name="Rectangle 3"/>
            <p:cNvSpPr txBox="1"/>
            <p:nvPr/>
          </p:nvSpPr>
          <p:spPr>
            <a:xfrm>
              <a:off x="4607755" y="2710747"/>
              <a:ext cx="2155136" cy="571248"/>
            </a:xfrm>
            <a:prstGeom prst="rect">
              <a:avLst/>
            </a:prstGeom>
            <a:ln>
              <a:noFill/>
              <a:headEnd/>
              <a:tailEnd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hy-AM" sz="1400" dirty="0" smtClean="0">
                  <a:solidFill>
                    <a:schemeClr val="accent6"/>
                  </a:solidFill>
                </a:rPr>
                <a:t>Տեղական ավիափոխադրողի լիցենզավորման գործընթացը և չափանիշները</a:t>
              </a:r>
              <a:endParaRPr lang="hy-AM" sz="14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" name="Group 3"/>
          <p:cNvGrpSpPr/>
          <p:nvPr>
            <p:custDataLst>
              <p:tags r:id="rId7"/>
            </p:custDataLst>
          </p:nvPr>
        </p:nvGrpSpPr>
        <p:grpSpPr>
          <a:xfrm>
            <a:off x="6006366" y="3669407"/>
            <a:ext cx="2528033" cy="1895806"/>
            <a:chOff x="5408611" y="3428131"/>
            <a:chExt cx="2234356" cy="1675574"/>
          </a:xfrm>
        </p:grpSpPr>
        <p:pic>
          <p:nvPicPr>
            <p:cNvPr id="28" name="Picture 27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8611" y="3428131"/>
              <a:ext cx="2234356" cy="1675574"/>
            </a:xfrm>
            <a:prstGeom prst="rect">
              <a:avLst/>
            </a:prstGeom>
            <a:ln w="12700">
              <a:headEnd/>
              <a:tailEnd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  <p:sp>
          <p:nvSpPr>
            <p:cNvPr id="29" name="Rectangle 3"/>
            <p:cNvSpPr txBox="1"/>
            <p:nvPr>
              <p:custDataLst>
                <p:tags r:id="rId16"/>
              </p:custDataLst>
            </p:nvPr>
          </p:nvSpPr>
          <p:spPr>
            <a:xfrm>
              <a:off x="5456648" y="3702957"/>
              <a:ext cx="2123344" cy="57124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hy-AM" sz="1400" dirty="0" smtClean="0">
                  <a:solidFill>
                    <a:schemeClr val="accent6"/>
                  </a:solidFill>
                </a:rPr>
                <a:t>Պետական և մասնավոր հատվածների համագործակցություն</a:t>
              </a:r>
            </a:p>
          </p:txBody>
        </p:sp>
      </p:grp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>
          <a:xfrm>
            <a:off x="3497793" y="1380119"/>
            <a:ext cx="0" cy="5082961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3" y="1898141"/>
            <a:ext cx="3187381" cy="3877642"/>
          </a:xfrm>
          <a:prstGeom prst="rect">
            <a:avLst/>
          </a:prstGeom>
        </p:spPr>
      </p:pic>
      <p:pic>
        <p:nvPicPr>
          <p:cNvPr id="38" name="Picture 19" descr="Microsoft Word Icon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44" y="2126082"/>
            <a:ext cx="801450" cy="80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12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26825" y="3799317"/>
            <a:ext cx="189590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800" b="1" smtClean="0">
                <a:solidFill>
                  <a:schemeClr val="accent3"/>
                </a:solidFill>
              </a:rPr>
              <a:t>Իրականացման ծրագիր</a:t>
            </a:r>
            <a:endParaRPr lang="hy-AM" sz="1800" b="1">
              <a:solidFill>
                <a:schemeClr val="accent3"/>
              </a:solidFill>
            </a:endParaRPr>
          </a:p>
        </p:txBody>
      </p:sp>
      <p:sp>
        <p:nvSpPr>
          <p:cNvPr id="40" name="Rectangle 3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725289" y="3115409"/>
            <a:ext cx="167571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800" b="1" dirty="0" smtClean="0">
                <a:solidFill>
                  <a:schemeClr val="accent3"/>
                </a:solidFill>
              </a:rPr>
              <a:t>Արդյունքների ամփոփում</a:t>
            </a:r>
            <a:endParaRPr lang="hy-AM" sz="1800" b="1" dirty="0">
              <a:solidFill>
                <a:schemeClr val="accent3"/>
              </a:solidFill>
            </a:endParaRPr>
          </a:p>
        </p:txBody>
      </p:sp>
      <p:pic>
        <p:nvPicPr>
          <p:cNvPr id="20" name="Picture 124" descr="Overlay Add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530" y="3600924"/>
            <a:ext cx="644525" cy="64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609841" y="3726695"/>
            <a:ext cx="1785808" cy="0"/>
          </a:xfrm>
          <a:prstGeom prst="line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2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627785" y="1334649"/>
            <a:ext cx="222767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800" b="1" smtClean="0">
                <a:solidFill>
                  <a:schemeClr val="accent2"/>
                </a:solidFill>
              </a:rPr>
              <a:t>Ուղեկցող նյութեր</a:t>
            </a:r>
            <a:endParaRPr lang="hy-AM" sz="1800" b="1">
              <a:solidFill>
                <a:schemeClr val="accent2"/>
              </a:solidFill>
            </a:endParaRPr>
          </a:p>
        </p:txBody>
      </p:sp>
      <p:pic>
        <p:nvPicPr>
          <p:cNvPr id="24" name="Picture 23"/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2910" y="1381925"/>
            <a:ext cx="801450" cy="80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041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8091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239" name="think-cell Slide" r:id="rId91" imgW="360" imgH="360" progId="TCLayout.ActiveDocument.1">
                  <p:embed/>
                </p:oleObj>
              </mc:Choice>
              <mc:Fallback>
                <p:oleObj name="think-cell Slide" r:id="rId91" imgW="360" imgH="360" progId="TCLayout.ActiveDocument.1">
                  <p:embed/>
                  <p:pic>
                    <p:nvPicPr>
                      <p:cNvPr id="0" name="Picture 2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 hidden="1"/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0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ltGray">
          <a:xfrm>
            <a:off x="174944" y="-44869"/>
            <a:ext cx="7218837" cy="877163"/>
          </a:xfrm>
        </p:spPr>
        <p:txBody>
          <a:bodyPr/>
          <a:lstStyle/>
          <a:p>
            <a:r>
              <a:rPr lang="hy-AM" sz="1900" smtClean="0"/>
              <a:t>Ավիափոխադրումների ոլորտն ընդհանուր առմամբ վնասատար է. տեղական ավիափոխադրողը կարող է գոյատևել միայն գործունեության ճիշտ կազմակերպման դեպքում </a:t>
            </a:r>
            <a:endParaRPr lang="hy-AM" sz="1900"/>
          </a:p>
        </p:txBody>
      </p:sp>
      <p:sp>
        <p:nvSpPr>
          <p:cNvPr id="11" name="Rectangle 6"/>
          <p:cNvSpPr txBox="1">
            <a:spLocks/>
          </p:cNvSpPr>
          <p:nvPr>
            <p:custDataLst>
              <p:tags r:id="rId5"/>
            </p:custDataLst>
          </p:nvPr>
        </p:nvSpPr>
        <p:spPr bwMode="ltGray">
          <a:xfrm>
            <a:off x="4733925" y="972676"/>
            <a:ext cx="415289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dirty="0" smtClean="0">
                <a:solidFill>
                  <a:schemeClr val="accent3"/>
                </a:solidFill>
              </a:rPr>
              <a:t>… միայն 9 ավիաընկերության է հաջողվել վերջին տարիներին ավելացնել իրենց արժեքը </a:t>
            </a:r>
            <a:endParaRPr lang="hy-AM" dirty="0">
              <a:solidFill>
                <a:schemeClr val="accent3"/>
              </a:solidFill>
            </a:endParaRPr>
          </a:p>
        </p:txBody>
      </p:sp>
      <p:sp>
        <p:nvSpPr>
          <p:cNvPr id="10" name="Rectangle 6"/>
          <p:cNvSpPr txBox="1">
            <a:spLocks/>
          </p:cNvSpPr>
          <p:nvPr>
            <p:custDataLst>
              <p:tags r:id="rId6"/>
            </p:custDataLst>
          </p:nvPr>
        </p:nvSpPr>
        <p:spPr bwMode="ltGray">
          <a:xfrm>
            <a:off x="162391" y="986968"/>
            <a:ext cx="424768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dirty="0" smtClean="0">
                <a:solidFill>
                  <a:schemeClr val="accent3"/>
                </a:solidFill>
              </a:rPr>
              <a:t>Ավիաընկերությունների արժեքի նվազումը տարեկան կազմում է </a:t>
            </a:r>
            <a:r>
              <a:rPr lang="hy-AM" dirty="0" smtClean="0">
                <a:solidFill>
                  <a:schemeClr val="accent3"/>
                </a:solidFill>
                <a:latin typeface="Sylfaen" pitchFamily="18" charset="0"/>
              </a:rPr>
              <a:t>միջինում 14 </a:t>
            </a:r>
            <a:r>
              <a:rPr lang="hy-AM" dirty="0" smtClean="0">
                <a:solidFill>
                  <a:schemeClr val="accent3"/>
                </a:solidFill>
              </a:rPr>
              <a:t>միլիարդ ԱՄՆ դոլար …</a:t>
            </a:r>
            <a:endParaRPr lang="hy-AM" dirty="0">
              <a:solidFill>
                <a:schemeClr val="accent3"/>
              </a:solidFill>
            </a:endParaRPr>
          </a:p>
        </p:txBody>
      </p:sp>
      <p:sp>
        <p:nvSpPr>
          <p:cNvPr id="6" name="Rectangle 6"/>
          <p:cNvSpPr txBox="1">
            <a:spLocks/>
          </p:cNvSpPr>
          <p:nvPr>
            <p:custDataLst>
              <p:tags r:id="rId7"/>
            </p:custDataLst>
          </p:nvPr>
        </p:nvSpPr>
        <p:spPr bwMode="ltGray">
          <a:xfrm>
            <a:off x="133595" y="5483225"/>
            <a:ext cx="8800611" cy="700050"/>
          </a:xfrm>
          <a:prstGeom prst="rect">
            <a:avLst/>
          </a:prstGeom>
          <a:gradFill flip="none" rotWithShape="1"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100000">
                <a:schemeClr val="accent2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45720" rIns="72009" bIns="4572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1400" dirty="0" smtClean="0"/>
              <a:t>Պահանջվում է նվազագույն չափանիշներով օբյեկտիվ լիցենզավորման գործընթացի սահմանում</a:t>
            </a:r>
            <a:r>
              <a:rPr lang="en-US" sz="1400" dirty="0" smtClean="0"/>
              <a:t> </a:t>
            </a:r>
            <a:r>
              <a:rPr lang="hy-AM" sz="1400" dirty="0" smtClean="0"/>
              <a:t> մարտահրավերներով լի ոլորտում տեղական ավիափոխադրողի կենսունակությունն առավելագույնս բարձրացնելու նպատակով </a:t>
            </a:r>
            <a:endParaRPr lang="hy-AM" sz="1400" dirty="0"/>
          </a:p>
        </p:txBody>
      </p:sp>
      <p:graphicFrame>
        <p:nvGraphicFramePr>
          <p:cNvPr id="30" name="Object 8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72406067"/>
              </p:ext>
            </p:extLst>
          </p:nvPr>
        </p:nvGraphicFramePr>
        <p:xfrm>
          <a:off x="153988" y="1982788"/>
          <a:ext cx="3924180" cy="2362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240" name="Chart" r:id="rId93" imgW="3924180" imgH="2362290" progId="MSGraph.Chart.8">
                  <p:embed followColorScheme="full"/>
                </p:oleObj>
              </mc:Choice>
              <mc:Fallback>
                <p:oleObj name="Chart" r:id="rId93" imgW="3924180" imgH="2362290" progId="MSGraph.Chart.8">
                  <p:embed followColorScheme="full"/>
                  <p:pic>
                    <p:nvPicPr>
                      <p:cNvPr id="0" name="Picture 259"/>
                      <p:cNvPicPr>
                        <a:picLocks noChangeArrowheads="1"/>
                      </p:cNvPicPr>
                      <p:nvPr/>
                    </p:nvPicPr>
                    <p:blipFill>
                      <a:blip r:embed="rId9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3988" y="1982788"/>
                        <a:ext cx="3924180" cy="23622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ltGray">
          <a:xfrm rot="10800000">
            <a:off x="4025900" y="2982913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hy-AM"/>
          </a:p>
        </p:txBody>
      </p:sp>
      <p:cxnSp>
        <p:nvCxnSpPr>
          <p:cNvPr id="224" name="Straight Connector 223"/>
          <p:cNvCxnSpPr/>
          <p:nvPr>
            <p:custDataLst>
              <p:tags r:id="rId10"/>
            </p:custDataLst>
          </p:nvPr>
        </p:nvCxnSpPr>
        <p:spPr bwMode="gray">
          <a:xfrm flipH="1">
            <a:off x="249238" y="3059113"/>
            <a:ext cx="122237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11"/>
            </p:custDataLst>
          </p:nvPr>
        </p:nvCxnSpPr>
        <p:spPr bwMode="gray">
          <a:xfrm flipH="1">
            <a:off x="639763" y="3059113"/>
            <a:ext cx="449262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12"/>
            </p:custDataLst>
          </p:nvPr>
        </p:nvCxnSpPr>
        <p:spPr bwMode="gray">
          <a:xfrm flipH="1">
            <a:off x="1357313" y="3059113"/>
            <a:ext cx="1147762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13"/>
            </p:custDataLst>
          </p:nvPr>
        </p:nvCxnSpPr>
        <p:spPr bwMode="gray">
          <a:xfrm flipH="1">
            <a:off x="2843213" y="3059113"/>
            <a:ext cx="1130300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4"/>
            </p:custDataLst>
          </p:nvPr>
        </p:nvCxnSpPr>
        <p:spPr bwMode="gray">
          <a:xfrm flipV="1">
            <a:off x="3292475" y="3306763"/>
            <a:ext cx="0" cy="320675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5"/>
            </p:custDataLst>
          </p:nvPr>
        </p:nvCxnSpPr>
        <p:spPr bwMode="gray">
          <a:xfrm flipV="1">
            <a:off x="1920875" y="2982913"/>
            <a:ext cx="0" cy="4064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16"/>
            </p:custDataLst>
          </p:nvPr>
        </p:nvCxnSpPr>
        <p:spPr bwMode="gray">
          <a:xfrm flipV="1">
            <a:off x="682625" y="2620963"/>
            <a:ext cx="0" cy="5207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7"/>
            </p:custDataLst>
          </p:nvPr>
        </p:nvCxnSpPr>
        <p:spPr bwMode="gray">
          <a:xfrm flipV="1">
            <a:off x="806450" y="2439988"/>
            <a:ext cx="0" cy="854075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8"/>
            </p:custDataLst>
          </p:nvPr>
        </p:nvCxnSpPr>
        <p:spPr bwMode="gray">
          <a:xfrm flipV="1">
            <a:off x="1054100" y="2592388"/>
            <a:ext cx="0" cy="5588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9"/>
            </p:custDataLst>
          </p:nvPr>
        </p:nvCxnSpPr>
        <p:spPr bwMode="gray">
          <a:xfrm flipV="1">
            <a:off x="1177925" y="2659063"/>
            <a:ext cx="0" cy="339725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20"/>
            </p:custDataLst>
          </p:nvPr>
        </p:nvCxnSpPr>
        <p:spPr bwMode="gray">
          <a:xfrm flipV="1">
            <a:off x="558800" y="2582863"/>
            <a:ext cx="0" cy="4064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3"/>
          <p:cNvSpPr>
            <a:spLocks noChangeArrowheads="1"/>
          </p:cNvSpPr>
          <p:nvPr>
            <p:custDataLst>
              <p:tags r:id="rId21"/>
            </p:custDataLst>
          </p:nvPr>
        </p:nvSpPr>
        <p:spPr bwMode="ltGray">
          <a:xfrm>
            <a:off x="4203701" y="2952750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400" b="1" smtClean="0">
                <a:solidFill>
                  <a:schemeClr val="accent2"/>
                </a:solidFill>
              </a:rPr>
              <a:t>Ø </a:t>
            </a:r>
            <a:fld id="{027B9F9D-D776-4603-B382-23C645A0E5B1}" type="datetime'''''''''''''''''''''''-''''''''''''''''1''''''''4'''''''''''">
              <a:rPr lang="hy-AM" sz="1400" b="1" smtClean="0">
                <a:solidFill>
                  <a:schemeClr val="accent2"/>
                </a:solidFill>
              </a:rPr>
              <a:pPr defTabSz="913526">
                <a:buClr>
                  <a:schemeClr val="tx2"/>
                </a:buClr>
              </a:pPr>
              <a:t>-14</a:t>
            </a:fld>
            <a:endParaRPr lang="hy-AM" sz="1400" b="1">
              <a:solidFill>
                <a:schemeClr val="accent2"/>
              </a:solidFill>
            </a:endParaRPr>
          </a:p>
        </p:txBody>
      </p:sp>
      <p:sp>
        <p:nvSpPr>
          <p:cNvPr id="71" name="Rectangle 14"/>
          <p:cNvSpPr>
            <a:spLocks noChangeArrowheads="1"/>
          </p:cNvSpPr>
          <p:nvPr>
            <p:custDataLst>
              <p:tags r:id="rId22"/>
            </p:custDataLst>
          </p:nvPr>
        </p:nvSpPr>
        <p:spPr bwMode="ltGray">
          <a:xfrm>
            <a:off x="3765550" y="455771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41DDF01D-17A6-44F0-8E06-BB561027D5C5}" type="datetime'''''''2''''''''''''''''''''''''0''''0''''''''9'''''">
              <a:rPr lang="hy-AM" sz="1000" smtClean="0"/>
              <a:pPr defTabSz="913526">
                <a:buClr>
                  <a:schemeClr val="tx2"/>
                </a:buClr>
              </a:pPr>
              <a:t>2009</a:t>
            </a:fld>
            <a:endParaRPr lang="hy-AM" sz="1000" b="0"/>
          </a:p>
        </p:txBody>
      </p:sp>
      <p:sp>
        <p:nvSpPr>
          <p:cNvPr id="147" name="Rectangle 14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840163" y="4151313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EE8EA24-B307-42D6-B8CF-0DFA6ECEC6BC}" type="datetime'''''''-2''''''''9''''''''.''''''''''7'''''">
              <a:rPr lang="hy-AM" sz="1000" smtClean="0"/>
              <a:pPr algn="ctr"/>
              <a:t>-29.7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46" name="Rectangle 145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629025" y="4303713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79FA610-97EC-4E22-8B8C-6B33AC72E98B}" type="datetime'''''-''3''''''''''''''''''''''0''''''''''.''9'''''''''''">
              <a:rPr lang="hy-AM" sz="1000" smtClean="0"/>
              <a:pPr algn="ctr"/>
              <a:t>-30.9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ltGray">
          <a:xfrm>
            <a:off x="3587750" y="4557713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05ED2C0-5527-4EBF-8D8F-3863B43F209F}" type="datetime'''''''''''''''''''0''''''''''''''''''7'''''''''''''''">
              <a:rPr lang="hy-AM" sz="1000" smtClean="0"/>
              <a:pPr/>
              <a:t>07</a:t>
            </a:fld>
            <a:endParaRPr lang="hy-AM" sz="100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78" name="Rectangle 7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ltGray">
          <a:xfrm>
            <a:off x="3540125" y="2636838"/>
            <a:ext cx="24923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5FDB24B-F5C9-4433-8327-7E97CE298CAC}" type="datetime'''''''-7''.''''''''''0'''''''''''''">
              <a:rPr lang="hy-AM" sz="1000" smtClean="0"/>
              <a:pPr algn="ctr"/>
              <a:t>-7.0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45" name="Rectangle 144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3381375" y="2970213"/>
            <a:ext cx="31908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29274E7-497A-4BC2-8A8A-CEFAC7FB8E60}" type="datetime'-''''''''''''''1''''2.''''1'">
              <a:rPr lang="hy-AM" sz="1000" smtClean="0"/>
              <a:pPr algn="ctr"/>
              <a:t>-12.1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3344863" y="3475038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9CD4EFE-0810-4CB2-B1AE-CFA2BF655DC3}" type="datetime'''''''''-''1''9''''''''''''''.''''''''''6'''''''''''''''''''">
              <a:rPr lang="hy-AM" sz="1000" smtClean="0"/>
              <a:pPr algn="ctr"/>
              <a:t>-19.6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ltGray">
          <a:xfrm>
            <a:off x="3216275" y="4557713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0F1CE12-35A7-4F23-B4D8-F89014D385FF}" type="datetime'''''''''0''''''''''''''''''''''''''4'''''''">
              <a:rPr lang="hy-AM" sz="1000" smtClean="0"/>
              <a:pPr/>
              <a:t>04</a:t>
            </a:fld>
            <a:endParaRPr lang="hy-AM" sz="100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143" name="Rectangle 14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221038" y="3627438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3D1C733-4264-4B43-912F-BA68F4731748}" type="datetime'''''''''''-''1''''''''8''''''''''.''''''''7'''''''''''''">
              <a:rPr lang="hy-AM" sz="1000" smtClean="0"/>
              <a:pPr algn="ctr"/>
              <a:t>-18.7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42" name="Rectangle 14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128963" y="3779838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3025CD1-E9BC-4FE8-85DF-0F65085B604C}" type="datetime'''''''-''''''2''''''''''''''''''''''''''''1''.6'''">
              <a:rPr lang="hy-AM" sz="1000" smtClean="0"/>
              <a:pPr algn="ctr"/>
              <a:t>-21.6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40" name="Rectangle 57"/>
          <p:cNvSpPr>
            <a:spLocks noChangeArrowheads="1"/>
          </p:cNvSpPr>
          <p:nvPr>
            <p:custDataLst>
              <p:tags r:id="rId32"/>
            </p:custDataLst>
          </p:nvPr>
        </p:nvSpPr>
        <p:spPr bwMode="ltGray">
          <a:xfrm>
            <a:off x="2781300" y="3741738"/>
            <a:ext cx="319088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>
            <a:noAutofit/>
          </a:bodyPr>
          <a:lstStyle/>
          <a:p>
            <a:pPr algn="ctr" defTabSz="913526">
              <a:buClr>
                <a:schemeClr val="tx2"/>
              </a:buClr>
            </a:pPr>
            <a:fld id="{56106041-F5D7-4989-8FB5-0189053C400B}" type="datetime'''''-''''''2''''''''''''''''''''''''''3''''''''''''.''''''7'">
              <a:rPr lang="hy-AM" sz="1000" smtClean="0"/>
              <a:pPr algn="ctr" defTabSz="913526">
                <a:buClr>
                  <a:schemeClr val="tx2"/>
                </a:buClr>
              </a:pPr>
              <a:t>-23.7</a:t>
            </a:fld>
            <a:endParaRPr lang="hy-AM" sz="1000" b="0"/>
          </a:p>
        </p:txBody>
      </p:sp>
      <p:sp>
        <p:nvSpPr>
          <p:cNvPr id="46" name="Rectangle 27"/>
          <p:cNvSpPr>
            <a:spLocks noChangeArrowheads="1"/>
          </p:cNvSpPr>
          <p:nvPr>
            <p:custDataLst>
              <p:tags r:id="rId33"/>
            </p:custDataLst>
          </p:nvPr>
        </p:nvSpPr>
        <p:spPr bwMode="ltGray">
          <a:xfrm>
            <a:off x="2844800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CB263B6B-CF6E-40EB-9D6C-2E4B1A01528A}" type="datetime'''''''''0''''''''''''''''''1'''''''''''''''''''''''''''''">
              <a:rPr lang="hy-AM" sz="1000" smtClean="0"/>
              <a:pPr defTabSz="913526">
                <a:buClr>
                  <a:schemeClr val="tx2"/>
                </a:buClr>
              </a:pPr>
              <a:t>01</a:t>
            </a:fld>
            <a:endParaRPr lang="hy-AM" sz="1000" b="0"/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2762250" y="4265613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178DEE6-1B68-40CD-9A9B-26766BDEB228}" type="datetime'''''''''''''-''''''''31.''''''''5'''''''''''''''''''''''">
              <a:rPr lang="hy-AM" sz="1000" smtClean="0"/>
              <a:pPr algn="ctr"/>
              <a:t>-31.5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48" name="Rectangle 29"/>
          <p:cNvSpPr>
            <a:spLocks noChangeArrowheads="1"/>
          </p:cNvSpPr>
          <p:nvPr>
            <p:custDataLst>
              <p:tags r:id="rId35"/>
            </p:custDataLst>
          </p:nvPr>
        </p:nvSpPr>
        <p:spPr bwMode="ltGray">
          <a:xfrm>
            <a:off x="2741613" y="2865438"/>
            <a:ext cx="319088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>
            <a:noAutofit/>
          </a:bodyPr>
          <a:lstStyle/>
          <a:p>
            <a:pPr algn="ctr" defTabSz="913526">
              <a:buClr>
                <a:schemeClr val="tx2"/>
              </a:buClr>
            </a:pPr>
            <a:fld id="{6951CA4E-451B-4AC2-B858-4D28FE43B8A4}" type="datetime'''''''''-''1''''''''''''''''''''0''.''''''4'''''''''">
              <a:rPr lang="hy-AM" sz="1000" smtClean="0"/>
              <a:pPr algn="ctr" defTabSz="913526">
                <a:buClr>
                  <a:schemeClr val="tx2"/>
                </a:buClr>
              </a:pPr>
              <a:t>-10.4</a:t>
            </a:fld>
            <a:endParaRPr lang="hy-AM" sz="1000" b="0"/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2514600" y="3017838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DAEB380-22F2-49B3-9AAF-CFF7C22CF645}" type="datetime'''''''''''-''1''''''''''''2''''''''''''''.''''''''''4'''''">
              <a:rPr lang="hy-AM" sz="1000" smtClean="0"/>
              <a:pPr algn="ctr"/>
              <a:t>-12.4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0" name="Rectangle 31"/>
          <p:cNvSpPr>
            <a:spLocks noChangeArrowheads="1"/>
          </p:cNvSpPr>
          <p:nvPr>
            <p:custDataLst>
              <p:tags r:id="rId37"/>
            </p:custDataLst>
          </p:nvPr>
        </p:nvSpPr>
        <p:spPr bwMode="ltGray">
          <a:xfrm>
            <a:off x="2473325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57E8190F-B310-4BC4-BEB0-53A345CAECEB}" type="datetime'''''''''''''''''''''''''''''''''''9''''8'''''''''''''''''">
              <a:rPr lang="hy-AM" sz="1000" smtClean="0"/>
              <a:pPr defTabSz="913526">
                <a:buClr>
                  <a:schemeClr val="tx2"/>
                </a:buClr>
              </a:pPr>
              <a:t>98</a:t>
            </a:fld>
            <a:endParaRPr lang="hy-AM" sz="1000" b="0"/>
          </a:p>
        </p:txBody>
      </p:sp>
      <p:sp useBgFill="1">
        <p:nvSpPr>
          <p:cNvPr id="76" name="Rectangle 75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ltGray">
          <a:xfrm>
            <a:off x="2493963" y="2484438"/>
            <a:ext cx="24923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EF8D2C4-ECA7-48E8-B5CA-51FEF5E4FD69}" type="datetime'''''''-''''4''''''.''7'''''''''''''''''''''''''">
              <a:rPr lang="hy-AM" sz="1000" smtClean="0"/>
              <a:pPr algn="ctr"/>
              <a:t>-4.7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39" name="Rectangle 138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2354263" y="2636838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BCFECC-D782-4F0F-B067-D2FC31178CDF}" type="datetime'''''-''''''''4''''''''''''''''''''''''''''''.''''6'">
              <a:rPr lang="hy-AM" sz="1000" smtClean="0"/>
              <a:pPr algn="ctr"/>
              <a:t>-4.6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38" name="Rectangle 13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2178050" y="2789238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613D95E-B622-4AA9-9F27-791EB621516D}" type="datetime'''-''''''''''''''7''''''''''''''''''''''.''4'''''''''''''">
              <a:rPr lang="hy-AM" sz="1000" smtClean="0"/>
              <a:pPr algn="ctr"/>
              <a:t>-7.4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3" name="Rectangle 34"/>
          <p:cNvSpPr>
            <a:spLocks noChangeArrowheads="1"/>
          </p:cNvSpPr>
          <p:nvPr>
            <p:custDataLst>
              <p:tags r:id="rId41"/>
            </p:custDataLst>
          </p:nvPr>
        </p:nvSpPr>
        <p:spPr bwMode="ltGray">
          <a:xfrm>
            <a:off x="2101850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3C758400-BA4D-4D1A-9B2E-5E841F20930B}" type="datetime'''''''''''''''''''''''''''9''5'''''''''''''''''''''''''''''">
              <a:rPr lang="hy-AM" sz="1000" smtClean="0"/>
              <a:pPr defTabSz="913526">
                <a:buClr>
                  <a:schemeClr val="tx2"/>
                </a:buClr>
              </a:pPr>
              <a:t>95</a:t>
            </a:fld>
            <a:endParaRPr lang="hy-AM" sz="1000" b="0"/>
          </a:p>
        </p:txBody>
      </p:sp>
      <p:sp useBgFill="1">
        <p:nvSpPr>
          <p:cNvPr id="75" name="Rectangle 7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ltGray">
          <a:xfrm>
            <a:off x="1984375" y="2627313"/>
            <a:ext cx="24923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5D5F4FC-6B61-4E04-9BE5-8789E5754232}" type="datetime'''-''''''6''''''''''''''''''''''''.''''''''''8'''">
              <a:rPr lang="hy-AM" sz="1000" smtClean="0"/>
              <a:pPr algn="ctr"/>
              <a:t>-6.8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1973263" y="3236913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44E6ED9-9E94-4B68-ABB0-1F574530E9C2}" type="datetime'''''-''''''''''''''''''''''1''''''''''''6''.''''''0'''''''''">
              <a:rPr lang="hy-AM" sz="1000" smtClean="0"/>
              <a:pPr algn="ctr"/>
              <a:t>-16.0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36" name="Rectangle 135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1849438" y="3389313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A36D292-3263-4877-A7E4-77704C6CBC56}" type="datetime'''''''''''''''''''''''''-''''''''''13''''''.''8'">
              <a:rPr lang="hy-AM" sz="1000" smtClean="0">
                <a:ea typeface="ＭＳ Ｐゴシック"/>
                <a:cs typeface="+mn-cs"/>
              </a:rPr>
              <a:pPr algn="ctr"/>
              <a:t>-13.8</a:t>
            </a:fld>
            <a:endParaRPr lang="hy-AM" sz="1000" smtClean="0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57" name="Rectangle 38"/>
          <p:cNvSpPr>
            <a:spLocks noChangeArrowheads="1"/>
          </p:cNvSpPr>
          <p:nvPr>
            <p:custDataLst>
              <p:tags r:id="rId45"/>
            </p:custDataLst>
          </p:nvPr>
        </p:nvSpPr>
        <p:spPr bwMode="ltGray">
          <a:xfrm>
            <a:off x="1720850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B1C141A4-B455-4248-85DF-B6C9D0CA32D7}" type="datetime'''''''''''''''''''''9''''2'''''''''''">
              <a:rPr lang="hy-AM" sz="1000" smtClean="0"/>
              <a:pPr defTabSz="913526">
                <a:buClr>
                  <a:schemeClr val="tx2"/>
                </a:buClr>
              </a:pPr>
              <a:t>92</a:t>
            </a:fld>
            <a:endParaRPr lang="hy-AM" sz="1000" b="0"/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1725613" y="3541713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8FC90F8-DA2E-4020-9B7A-164EF3174123}" type="datetime'''''''''''''''''''''''-1''''''''''''''''''7''''.''9'''''">
              <a:rPr lang="hy-AM" sz="1000" smtClean="0"/>
              <a:pPr algn="ctr"/>
              <a:t>-17.9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1393825" y="3551238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EFF9B8E-2FB9-4AEA-8376-D461B139002D}" type="datetime'''''''''''''''-1''7''''''''.8'''''''''''''''">
              <a:rPr lang="hy-AM" sz="1000" smtClean="0"/>
              <a:pPr algn="ctr"/>
              <a:t>-17.8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1301750" y="3398838"/>
            <a:ext cx="3190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99CC3BA-8B91-4F85-9F51-80F52A7E06BB}" type="datetime'''''''''-''''''''''''1''''8''''''''''''''''.''''''''5'''''''''">
              <a:rPr lang="hy-AM" sz="1000" smtClean="0"/>
              <a:pPr algn="ctr"/>
              <a:t>-18.5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60" name="Rectangle 16"/>
          <p:cNvSpPr>
            <a:spLocks noChangeArrowheads="1"/>
          </p:cNvSpPr>
          <p:nvPr>
            <p:custDataLst>
              <p:tags r:id="rId49"/>
            </p:custDataLst>
          </p:nvPr>
        </p:nvSpPr>
        <p:spPr bwMode="ltGray">
          <a:xfrm>
            <a:off x="1349375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BE57E6F3-A719-4F36-83F8-B8F53F9A3DA2}" type="datetime'''''''''''''''''''8''''''''''''''''9'''''''''''''">
              <a:rPr lang="hy-AM" sz="1000" smtClean="0"/>
              <a:pPr defTabSz="913526">
                <a:buClr>
                  <a:schemeClr val="tx2"/>
                </a:buClr>
              </a:pPr>
              <a:t>89</a:t>
            </a:fld>
            <a:endParaRPr lang="hy-AM" sz="1000" b="0"/>
          </a:p>
        </p:txBody>
      </p:sp>
      <p:sp useBgFill="1">
        <p:nvSpPr>
          <p:cNvPr id="111" name="Rectangle 110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1370013" y="3065463"/>
            <a:ext cx="31908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218415E-B616-49CC-AD08-830FAB56355D}" type="datetime'''-1''''''''''''''''''3''''''''.''''''''''''''''5'''''''">
              <a:rPr lang="hy-AM" sz="1000" smtClean="0"/>
              <a:pPr algn="ctr"/>
              <a:t>-13.5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10" name="Rectangle 10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1246188" y="2846388"/>
            <a:ext cx="31908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80FF99B-9410-4DD5-A36C-1EE5D06CB0FB}" type="datetime'''''''''''''''''''''-10''''.1'''''''''''''''''''''''''''''''">
              <a:rPr lang="hy-AM" sz="1000" smtClean="0">
                <a:ea typeface="ＭＳ Ｐゴシック"/>
                <a:cs typeface="+mn-cs"/>
              </a:rPr>
              <a:pPr algn="ctr"/>
              <a:t>-10.1</a:t>
            </a:fld>
            <a:endParaRPr lang="hy-AM" sz="1000" smtClean="0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1098550" y="2998788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D9C2D1C-2B39-4341-9260-13032507AC1B}" type="datetime'''''''''''''''-''8''''''.''''''''''''''''''''''9'''''''''''''">
              <a:rPr lang="hy-AM" sz="1000" smtClean="0"/>
              <a:pPr algn="ctr"/>
              <a:t>-8.9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64" name="Rectangle 19"/>
          <p:cNvSpPr>
            <a:spLocks noChangeArrowheads="1"/>
          </p:cNvSpPr>
          <p:nvPr>
            <p:custDataLst>
              <p:tags r:id="rId53"/>
            </p:custDataLst>
          </p:nvPr>
        </p:nvSpPr>
        <p:spPr bwMode="ltGray">
          <a:xfrm>
            <a:off x="977900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FA311E8E-B69E-4E03-82F3-3AD755492F48}" type="datetime'''''''''''''8''''''''''''''''''''''''''''''''''6'''''">
              <a:rPr lang="hy-AM" sz="1000" smtClean="0"/>
              <a:pPr defTabSz="913526">
                <a:buClr>
                  <a:schemeClr val="tx2"/>
                </a:buClr>
              </a:pPr>
              <a:t>86</a:t>
            </a:fld>
            <a:endParaRPr lang="hy-AM" sz="1000" b="0"/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982663" y="3151188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EE2E06F-20BF-4051-97B9-CE164AE0FC7C}" type="datetime'''''''''''''''''''''''-''7''''''''''''''''''''''.''''8'">
              <a:rPr lang="hy-AM" sz="1000" smtClean="0"/>
              <a:pPr algn="ctr"/>
              <a:t>-7.8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806450" y="2693988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E478F86-BB70-4F7E-B62E-8F6051175989}" type="datetime'''''-''''7''''''.''''''8'''''''''''''">
              <a:rPr lang="hy-AM" sz="1000" smtClean="0"/>
              <a:pPr algn="ctr"/>
              <a:t>-7.8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02" name="Rectangle 101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628650" y="3294063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4AB5F92-B62F-4A03-95BC-1A1EF7286CEB}" type="datetime'''''''''-''''5''''''''''''''''''''''''.''''''6'">
              <a:rPr lang="hy-AM" sz="1000" smtClean="0"/>
              <a:pPr algn="ctr"/>
              <a:t>-5.6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72" name="Rectangle 22"/>
          <p:cNvSpPr>
            <a:spLocks noChangeArrowheads="1"/>
          </p:cNvSpPr>
          <p:nvPr>
            <p:custDataLst>
              <p:tags r:id="rId57"/>
            </p:custDataLst>
          </p:nvPr>
        </p:nvSpPr>
        <p:spPr bwMode="ltGray">
          <a:xfrm>
            <a:off x="606425" y="4557713"/>
            <a:ext cx="152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A46715AE-AA26-4D9F-B352-1517A5B48D92}" type="datetime'''''''''''''''''''''''''''''''''''''8''''3'''''''''''''''''''">
              <a:rPr lang="hy-AM" sz="1000" smtClean="0"/>
              <a:pPr defTabSz="913526">
                <a:buClr>
                  <a:schemeClr val="tx2"/>
                </a:buClr>
              </a:pPr>
              <a:t>83</a:t>
            </a:fld>
            <a:endParaRPr lang="hy-AM" sz="1000" b="0"/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504825" y="3141663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433BD93-30FB-4163-9114-AF2DE0A96833}" type="datetime'''''''''''''''''''''''-''''''8''''.''3'">
              <a:rPr lang="hy-AM" sz="1000" smtClean="0"/>
              <a:pPr algn="ctr"/>
              <a:t>-8.3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96" name="Rectangle 95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381000" y="2989263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8D32ECC-7251-4209-81E5-E55643E46197}" type="datetime'''''''''''''''-''''''''''7''.''''''''7'''''''''''''''''''''">
              <a:rPr lang="hy-AM" sz="1000" smtClean="0"/>
              <a:pPr algn="ctr"/>
              <a:t>-7.7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257175" y="2836863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52425D3-6CED-4304-AC7A-18B6E2386E19}" type="datetime'''''''''''''''-9''''''''''''''''''''''''''.''''''''''''''3'''">
              <a:rPr lang="hy-AM" sz="1000" smtClean="0"/>
              <a:pPr algn="ctr"/>
              <a:t>-9.3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70" name="Rectangle 25"/>
          <p:cNvSpPr>
            <a:spLocks noChangeArrowheads="1"/>
          </p:cNvSpPr>
          <p:nvPr>
            <p:custDataLst>
              <p:tags r:id="rId61"/>
            </p:custDataLst>
          </p:nvPr>
        </p:nvSpPr>
        <p:spPr bwMode="ltGray">
          <a:xfrm>
            <a:off x="165100" y="455771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fld id="{E6058720-04EE-484B-9D54-6D485D2973AF}" type="datetime'''''1''''''''''''9''''''''''''''''''''''8''0'''''''''''''">
              <a:rPr lang="hy-AM" sz="1000" smtClean="0"/>
              <a:pPr defTabSz="913526">
                <a:buClr>
                  <a:schemeClr val="tx2"/>
                </a:buClr>
              </a:pPr>
              <a:t>1980</a:t>
            </a:fld>
            <a:endParaRPr lang="hy-AM" sz="1000" b="0"/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auto">
          <a:xfrm>
            <a:off x="133350" y="2684463"/>
            <a:ext cx="2492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9F8EC55-DE92-4209-8BE2-013F23130588}" type="datetime'-''''''7''.''''''''''''''''''''''''7'''''''''''''''''''''">
              <a:rPr lang="hy-AM" sz="1000" smtClean="0"/>
              <a:pPr algn="ctr"/>
              <a:t>-7.7</a:t>
            </a:fld>
            <a:endParaRPr lang="hy-AM" sz="10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8" name="Rectangle 28"/>
          <p:cNvSpPr txBox="1"/>
          <p:nvPr>
            <p:custDataLst>
              <p:tags r:id="rId63"/>
            </p:custDataLst>
          </p:nvPr>
        </p:nvSpPr>
        <p:spPr bwMode="ltGray">
          <a:xfrm>
            <a:off x="162391" y="1809750"/>
            <a:ext cx="44265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b="1" smtClean="0"/>
              <a:t>Տնտեսական շահույթ</a:t>
            </a:r>
            <a:r>
              <a:rPr lang="hy-AM" sz="1000" baseline="30000" smtClean="0"/>
              <a:t>1</a:t>
            </a:r>
          </a:p>
          <a:p>
            <a:r>
              <a:rPr lang="hy-AM" sz="1000" smtClean="0">
                <a:solidFill>
                  <a:schemeClr val="accent6"/>
                </a:solidFill>
              </a:rPr>
              <a:t>Միլիարդ ԱՄՆ դոլար</a:t>
            </a:r>
            <a:endParaRPr lang="hy-AM" sz="1000">
              <a:solidFill>
                <a:schemeClr val="accent6"/>
              </a:solidFill>
            </a:endParaRPr>
          </a:p>
        </p:txBody>
      </p:sp>
      <p:sp>
        <p:nvSpPr>
          <p:cNvPr id="117" name="McK 4. Footnote"/>
          <p:cNvSpPr txBox="1">
            <a:spLocks noChangeArrowheads="1"/>
          </p:cNvSpPr>
          <p:nvPr>
            <p:custDataLst>
              <p:tags r:id="rId64"/>
            </p:custDataLst>
          </p:nvPr>
        </p:nvSpPr>
        <p:spPr bwMode="ltGray">
          <a:xfrm>
            <a:off x="1" y="6242469"/>
            <a:ext cx="90201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smtClean="0"/>
              <a:t>1 Տնտեսական շահույթը ներդրումների հետ կապված հնարավոր ծախսերի (օրինակ՝ օգտագործվող կապիտալը) և եկամուտների միջև տարբերությունն է </a:t>
            </a:r>
          </a:p>
          <a:p>
            <a:r>
              <a:rPr lang="hy-AM" smtClean="0"/>
              <a:t>2 Ներդրումների շահութաբերության միջին արժեքը բոլոր տարիների համար  </a:t>
            </a:r>
            <a:endParaRPr lang="hy-AM"/>
          </a:p>
        </p:txBody>
      </p:sp>
      <p:sp>
        <p:nvSpPr>
          <p:cNvPr id="120" name="AutoShape 12"/>
          <p:cNvSpPr>
            <a:spLocks noChangeArrowheads="1"/>
          </p:cNvSpPr>
          <p:nvPr>
            <p:custDataLst>
              <p:tags r:id="rId65"/>
            </p:custDataLst>
          </p:nvPr>
        </p:nvSpPr>
        <p:spPr bwMode="ltGray">
          <a:xfrm>
            <a:off x="4865712" y="1809750"/>
            <a:ext cx="4116363" cy="32624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18288" anchor="b">
            <a:noAutofit/>
          </a:bodyPr>
          <a:lstStyle/>
          <a:p>
            <a:r>
              <a:rPr lang="hy-AM" sz="1000" b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Կուտակային տնտեսական շահույթ</a:t>
            </a:r>
            <a:r>
              <a:rPr lang="hy-AM" sz="1000" b="1" baseline="300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hy-AM" sz="1000" b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2004 - 11</a:t>
            </a:r>
          </a:p>
          <a:p>
            <a:r>
              <a:rPr lang="hy-AM" sz="100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Միլիոն ԱՄՆ դոլար </a:t>
            </a:r>
            <a:endParaRPr lang="hy-AM" sz="1000">
              <a:solidFill>
                <a:srgbClr val="80808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5" name="Object 24"/>
          <p:cNvGraphicFramePr>
            <a:graphicFrameLocks/>
          </p:cNvGraphicFramePr>
          <p:nvPr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484092135"/>
              </p:ext>
            </p:extLst>
          </p:nvPr>
        </p:nvGraphicFramePr>
        <p:xfrm>
          <a:off x="5530850" y="2200275"/>
          <a:ext cx="3524310" cy="2190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241" name="Chart" r:id="rId95" imgW="3524310" imgH="2190840" progId="MSGraph.Chart.8">
                  <p:embed followColorScheme="full"/>
                </p:oleObj>
              </mc:Choice>
              <mc:Fallback>
                <p:oleObj name="Chart" r:id="rId95" imgW="3524310" imgH="2190840" progId="MSGraph.Chart.8">
                  <p:embed followColorScheme="full"/>
                  <p:pic>
                    <p:nvPicPr>
                      <p:cNvPr id="0" name="Picture 260"/>
                      <p:cNvPicPr>
                        <a:picLocks noChangeArrowheads="1"/>
                      </p:cNvPicPr>
                      <p:nvPr/>
                    </p:nvPicPr>
                    <p:blipFill>
                      <a:blip r:embed="rId9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30850" y="2200275"/>
                        <a:ext cx="3524310" cy="21908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Rectangle 29"/>
          <p:cNvSpPr>
            <a:spLocks noChangeArrowheads="1"/>
          </p:cNvSpPr>
          <p:nvPr>
            <p:custDataLst>
              <p:tags r:id="rId67"/>
            </p:custDataLst>
          </p:nvPr>
        </p:nvSpPr>
        <p:spPr bwMode="ltGray">
          <a:xfrm>
            <a:off x="8645525" y="4349750"/>
            <a:ext cx="2921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Ae-gean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27" name="Rectangle 31"/>
          <p:cNvSpPr>
            <a:spLocks noChangeArrowheads="1"/>
          </p:cNvSpPr>
          <p:nvPr>
            <p:custDataLst>
              <p:tags r:id="rId68"/>
            </p:custDataLst>
          </p:nvPr>
        </p:nvSpPr>
        <p:spPr bwMode="ltGray">
          <a:xfrm>
            <a:off x="8274050" y="4349750"/>
            <a:ext cx="2857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Alle-giant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28" name="Rectangle 33"/>
          <p:cNvSpPr>
            <a:spLocks noChangeArrowheads="1"/>
          </p:cNvSpPr>
          <p:nvPr>
            <p:custDataLst>
              <p:tags r:id="rId69"/>
            </p:custDataLst>
          </p:nvPr>
        </p:nvSpPr>
        <p:spPr bwMode="ltGray">
          <a:xfrm>
            <a:off x="7902575" y="4349750"/>
            <a:ext cx="3365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Easy-jet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29" name="Rectangle 27"/>
          <p:cNvSpPr>
            <a:spLocks noChangeArrowheads="1"/>
          </p:cNvSpPr>
          <p:nvPr>
            <p:custDataLst>
              <p:tags r:id="rId70"/>
            </p:custDataLst>
          </p:nvPr>
        </p:nvSpPr>
        <p:spPr bwMode="ltGray">
          <a:xfrm>
            <a:off x="7531100" y="4349750"/>
            <a:ext cx="2524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Air Ara-bia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30" name="Rectangle 25"/>
          <p:cNvSpPr>
            <a:spLocks noChangeArrowheads="1"/>
          </p:cNvSpPr>
          <p:nvPr>
            <p:custDataLst>
              <p:tags r:id="rId71"/>
            </p:custDataLst>
          </p:nvPr>
        </p:nvSpPr>
        <p:spPr bwMode="ltGray">
          <a:xfrm>
            <a:off x="7169150" y="4349750"/>
            <a:ext cx="371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COPA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31" name="Rectangle 26"/>
          <p:cNvSpPr>
            <a:spLocks noChangeArrowheads="1"/>
          </p:cNvSpPr>
          <p:nvPr>
            <p:custDataLst>
              <p:tags r:id="rId72"/>
            </p:custDataLst>
          </p:nvPr>
        </p:nvSpPr>
        <p:spPr bwMode="ltGray">
          <a:xfrm>
            <a:off x="6797675" y="4349750"/>
            <a:ext cx="2587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LAN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32" name="Rectangle 28"/>
          <p:cNvSpPr>
            <a:spLocks noChangeArrowheads="1"/>
          </p:cNvSpPr>
          <p:nvPr>
            <p:custDataLst>
              <p:tags r:id="rId73"/>
            </p:custDataLst>
          </p:nvPr>
        </p:nvSpPr>
        <p:spPr bwMode="ltGray">
          <a:xfrm>
            <a:off x="6426200" y="4349750"/>
            <a:ext cx="3222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Aero-flot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33" name="Rectangle 30"/>
          <p:cNvSpPr>
            <a:spLocks noChangeArrowheads="1"/>
          </p:cNvSpPr>
          <p:nvPr>
            <p:custDataLst>
              <p:tags r:id="rId74"/>
            </p:custDataLst>
          </p:nvPr>
        </p:nvSpPr>
        <p:spPr bwMode="ltGray">
          <a:xfrm>
            <a:off x="6054725" y="4349750"/>
            <a:ext cx="3508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Ryan-air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34" name="Rectangle 32"/>
          <p:cNvSpPr>
            <a:spLocks noChangeArrowheads="1"/>
          </p:cNvSpPr>
          <p:nvPr>
            <p:custDataLst>
              <p:tags r:id="rId75"/>
            </p:custDataLst>
          </p:nvPr>
        </p:nvSpPr>
        <p:spPr bwMode="ltGray">
          <a:xfrm>
            <a:off x="5683250" y="4349750"/>
            <a:ext cx="3175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hy-AM" sz="1000" smtClean="0">
                <a:cs typeface="Arial"/>
              </a:rPr>
              <a:t>Emir-ates</a:t>
            </a:r>
            <a:endParaRPr lang="hy-AM" sz="1000">
              <a:latin typeface="Arial"/>
              <a:cs typeface="Arial"/>
              <a:sym typeface="Arial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5643563" y="2127250"/>
            <a:ext cx="3460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A77D85-C75C-40A7-A220-0F44B7B83A26}" type="datetime'2'''''''',''''''''''3''''''''''''''''''''''1''8'''''''''''''''">
              <a:rPr lang="hy-AM" sz="1000" smtClean="0"/>
              <a:pPr algn="ctr"/>
              <a:t>2,318</a:t>
            </a:fld>
            <a:endParaRPr lang="hy-AM" sz="1000" smtClean="0">
              <a:latin typeface="Arial"/>
              <a:cs typeface="Arial"/>
              <a:sym typeface="Arial"/>
            </a:endParaRPr>
          </a:p>
        </p:txBody>
      </p:sp>
      <p:sp>
        <p:nvSpPr>
          <p:cNvPr id="156" name="Rectangle 39"/>
          <p:cNvSpPr>
            <a:spLocks noChangeArrowheads="1"/>
          </p:cNvSpPr>
          <p:nvPr>
            <p:custDataLst>
              <p:tags r:id="rId77"/>
            </p:custDataLst>
          </p:nvPr>
        </p:nvSpPr>
        <p:spPr bwMode="ltGray">
          <a:xfrm>
            <a:off x="3267076" y="5002213"/>
            <a:ext cx="23685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b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Ø  Ներդրումների շահութաբերություն</a:t>
            </a:r>
            <a:r>
              <a:rPr lang="hy-AM" sz="1000" b="1" baseline="300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</a:t>
            </a:r>
            <a:endParaRPr lang="hy-AM" sz="1000" baseline="300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7" name="Oval 46"/>
          <p:cNvSpPr>
            <a:spLocks noChangeArrowheads="1"/>
          </p:cNvSpPr>
          <p:nvPr>
            <p:custDataLst>
              <p:tags r:id="rId78"/>
            </p:custDataLst>
          </p:nvPr>
        </p:nvSpPr>
        <p:spPr bwMode="ltGray">
          <a:xfrm>
            <a:off x="6021388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1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58" name="Oval 52"/>
          <p:cNvSpPr>
            <a:spLocks noChangeArrowheads="1"/>
          </p:cNvSpPr>
          <p:nvPr>
            <p:custDataLst>
              <p:tags r:id="rId79"/>
            </p:custDataLst>
          </p:nvPr>
        </p:nvSpPr>
        <p:spPr bwMode="ltGray">
          <a:xfrm>
            <a:off x="6392863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2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59" name="Oval 58"/>
          <p:cNvSpPr>
            <a:spLocks noChangeArrowheads="1"/>
          </p:cNvSpPr>
          <p:nvPr>
            <p:custDataLst>
              <p:tags r:id="rId80"/>
            </p:custDataLst>
          </p:nvPr>
        </p:nvSpPr>
        <p:spPr bwMode="ltGray">
          <a:xfrm>
            <a:off x="6762750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0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0" name="Oval 64"/>
          <p:cNvSpPr>
            <a:spLocks noChangeArrowheads="1"/>
          </p:cNvSpPr>
          <p:nvPr>
            <p:custDataLst>
              <p:tags r:id="rId81"/>
            </p:custDataLst>
          </p:nvPr>
        </p:nvSpPr>
        <p:spPr bwMode="ltGray">
          <a:xfrm>
            <a:off x="7134225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1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Oval 70"/>
          <p:cNvSpPr>
            <a:spLocks noChangeArrowheads="1"/>
          </p:cNvSpPr>
          <p:nvPr>
            <p:custDataLst>
              <p:tags r:id="rId82"/>
            </p:custDataLst>
          </p:nvPr>
        </p:nvSpPr>
        <p:spPr bwMode="ltGray">
          <a:xfrm>
            <a:off x="7874000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5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Oval 76"/>
          <p:cNvSpPr>
            <a:spLocks noChangeArrowheads="1"/>
          </p:cNvSpPr>
          <p:nvPr>
            <p:custDataLst>
              <p:tags r:id="rId83"/>
            </p:custDataLst>
          </p:nvPr>
        </p:nvSpPr>
        <p:spPr bwMode="ltGray">
          <a:xfrm>
            <a:off x="8245475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22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3" name="Oval 87"/>
          <p:cNvSpPr>
            <a:spLocks noChangeArrowheads="1"/>
          </p:cNvSpPr>
          <p:nvPr>
            <p:custDataLst>
              <p:tags r:id="rId84"/>
            </p:custDataLst>
          </p:nvPr>
        </p:nvSpPr>
        <p:spPr bwMode="ltGray">
          <a:xfrm>
            <a:off x="7504113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0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4" name="Oval 95"/>
          <p:cNvSpPr>
            <a:spLocks noChangeArrowheads="1"/>
          </p:cNvSpPr>
          <p:nvPr>
            <p:custDataLst>
              <p:tags r:id="rId85"/>
            </p:custDataLst>
          </p:nvPr>
        </p:nvSpPr>
        <p:spPr bwMode="ltGray">
          <a:xfrm>
            <a:off x="5651500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2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5" name="Oval 81"/>
          <p:cNvSpPr>
            <a:spLocks noChangeArrowheads="1"/>
          </p:cNvSpPr>
          <p:nvPr>
            <p:custDataLst>
              <p:tags r:id="rId86"/>
            </p:custDataLst>
          </p:nvPr>
        </p:nvSpPr>
        <p:spPr bwMode="ltGray">
          <a:xfrm>
            <a:off x="8615363" y="4959350"/>
            <a:ext cx="334280" cy="22434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3526">
              <a:lnSpc>
                <a:spcPct val="90000"/>
              </a:lnSpc>
              <a:spcBef>
                <a:spcPct val="100000"/>
              </a:spcBef>
              <a:buClr>
                <a:schemeClr val="tx2"/>
              </a:buClr>
            </a:pPr>
            <a:r>
              <a:rPr lang="hy-AM" sz="1000" smtClean="0">
                <a:latin typeface="Arial" pitchFamily="34" charset="0"/>
                <a:cs typeface="Arial" pitchFamily="34" charset="0"/>
              </a:rPr>
              <a:t>10%</a:t>
            </a:r>
            <a:endParaRPr lang="hy-AM" sz="100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1" name="Straight Connector 230"/>
          <p:cNvCxnSpPr>
            <a:cxnSpLocks/>
          </p:cNvCxnSpPr>
          <p:nvPr>
            <p:custDataLst>
              <p:tags r:id="rId87"/>
            </p:custDataLst>
          </p:nvPr>
        </p:nvCxnSpPr>
        <p:spPr bwMode="ltGray">
          <a:xfrm>
            <a:off x="171695" y="5424488"/>
            <a:ext cx="8800611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>
            <a:cxnSpLocks/>
          </p:cNvCxnSpPr>
          <p:nvPr>
            <p:custDataLst>
              <p:tags r:id="rId88"/>
            </p:custDataLst>
          </p:nvPr>
        </p:nvCxnSpPr>
        <p:spPr bwMode="ltGray">
          <a:xfrm>
            <a:off x="-30480" y="1741488"/>
            <a:ext cx="4811528" cy="0"/>
          </a:xfrm>
          <a:prstGeom prst="line">
            <a:avLst/>
          </a:prstGeom>
          <a:ln w="3810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cxnSpLocks/>
          </p:cNvCxnSpPr>
          <p:nvPr>
            <p:custDataLst>
              <p:tags r:id="rId89"/>
            </p:custDataLst>
          </p:nvPr>
        </p:nvCxnSpPr>
        <p:spPr bwMode="ltGray">
          <a:xfrm>
            <a:off x="4865712" y="1741488"/>
            <a:ext cx="4106594" cy="0"/>
          </a:xfrm>
          <a:prstGeom prst="line">
            <a:avLst/>
          </a:prstGeom>
          <a:ln w="38100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41331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2860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4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 hidden="1"/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000" dirty="0" err="1" smtClean="0">
              <a:solidFill>
                <a:schemeClr val="tx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2" name="Rectangle 11"/>
          <p:cNvSpPr/>
          <p:nvPr>
            <p:custDataLst>
              <p:tags r:id="rId4"/>
            </p:custDataLst>
          </p:nvPr>
        </p:nvSpPr>
        <p:spPr>
          <a:xfrm>
            <a:off x="1957620" y="3687531"/>
            <a:ext cx="6121374" cy="26323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174944" y="247519"/>
            <a:ext cx="7218837" cy="584775"/>
          </a:xfrm>
        </p:spPr>
        <p:txBody>
          <a:bodyPr/>
          <a:lstStyle/>
          <a:p>
            <a:r>
              <a:rPr lang="hy-AM" sz="1900" dirty="0" smtClean="0"/>
              <a:t>Լիցենզավորման գործընթացը հիմնված կլինի մի քանի կարևոր սկզբունքների վրա</a:t>
            </a:r>
            <a:endParaRPr lang="hy-AM" sz="1900" dirty="0"/>
          </a:p>
        </p:txBody>
      </p:sp>
      <p:sp>
        <p:nvSpPr>
          <p:cNvPr id="95" name="Rectangle 6"/>
          <p:cNvSpPr txBox="1"/>
          <p:nvPr>
            <p:custDataLst>
              <p:tags r:id="rId6"/>
            </p:custDataLst>
          </p:nvPr>
        </p:nvSpPr>
        <p:spPr bwMode="ltGray">
          <a:xfrm>
            <a:off x="2086549" y="1256453"/>
            <a:ext cx="5483483" cy="473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hy-AM" sz="1400" dirty="0" smtClean="0"/>
              <a:t>Լիցենզիայի տրամադրում՝ հիմնված </a:t>
            </a:r>
            <a:r>
              <a:rPr lang="hy-AM" sz="1400" dirty="0" smtClean="0">
                <a:solidFill>
                  <a:schemeClr val="accent2"/>
                </a:solidFill>
              </a:rPr>
              <a:t>օբյեկտիվ չափանիշների վրա</a:t>
            </a:r>
          </a:p>
          <a:p>
            <a:pPr lvl="1">
              <a:spcBef>
                <a:spcPct val="40000"/>
              </a:spcBef>
            </a:pPr>
            <a:r>
              <a:rPr lang="hy-AM" sz="1400" dirty="0" smtClean="0"/>
              <a:t>Տեղական</a:t>
            </a:r>
            <a:r>
              <a:rPr lang="hy-AM" sz="1400" dirty="0" smtClean="0">
                <a:solidFill>
                  <a:schemeClr val="accent2"/>
                </a:solidFill>
              </a:rPr>
              <a:t> </a:t>
            </a:r>
            <a:r>
              <a:rPr lang="hy-AM" sz="1400" dirty="0" smtClean="0"/>
              <a:t>ավիափոխադրողների քանակի սահմանափակումների բացակայություն </a:t>
            </a:r>
          </a:p>
          <a:p>
            <a:pPr lvl="1">
              <a:spcBef>
                <a:spcPct val="40000"/>
              </a:spcBef>
            </a:pPr>
            <a:r>
              <a:rPr lang="hy-AM" sz="1400" dirty="0" smtClean="0"/>
              <a:t>Հայտերի ուսումնասիրություն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Կարգավորող մարմնի կամ 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Կարգավորող մարմնի անդամներից և կայացած մասնագետներից կազմված անկախ խորհրդի կողմից </a:t>
            </a:r>
          </a:p>
          <a:p>
            <a:pPr lvl="1">
              <a:spcBef>
                <a:spcPct val="40000"/>
              </a:spcBef>
            </a:pPr>
            <a:r>
              <a:rPr lang="hy-AM" sz="1400" dirty="0" smtClean="0"/>
              <a:t>Հայտերի ուսումնասիրություն </a:t>
            </a:r>
            <a:r>
              <a:rPr lang="hy-AM" sz="1400" dirty="0" smtClean="0">
                <a:solidFill>
                  <a:schemeClr val="accent2"/>
                </a:solidFill>
              </a:rPr>
              <a:t>6 ամսվա ընթացքում</a:t>
            </a:r>
          </a:p>
          <a:p>
            <a:pPr lvl="1">
              <a:spcBef>
                <a:spcPct val="40000"/>
              </a:spcBef>
            </a:pPr>
            <a:r>
              <a:rPr lang="hy-AM" sz="1400" dirty="0" smtClean="0">
                <a:solidFill>
                  <a:schemeClr val="accent2"/>
                </a:solidFill>
              </a:rPr>
              <a:t>Գործարար առաջարկի համապարփակ ուսումնասիրություն </a:t>
            </a:r>
            <a:r>
              <a:rPr lang="hy-AM" sz="1400" dirty="0" smtClean="0"/>
              <a:t>Պահանջվում է ներկայացնել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Մանրամասն գործարար ծրագիր</a:t>
            </a:r>
            <a:r>
              <a:rPr lang="en-US" sz="1400" dirty="0"/>
              <a:t>ը</a:t>
            </a:r>
            <a:endParaRPr lang="hy-AM" sz="1400" dirty="0" smtClean="0"/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Կորպորատիվ կառուցվածքը և սեփականատերերին 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Ղեկավարության փորձը, տեխնիկական կարողությունները և ֆինանսական շահերը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Ֆինանսական վիճակը, կանխատեսումները և շահագործման ծրագրերը </a:t>
            </a:r>
          </a:p>
          <a:p>
            <a:pPr lvl="2">
              <a:spcBef>
                <a:spcPct val="20000"/>
              </a:spcBef>
            </a:pPr>
            <a:r>
              <a:rPr lang="hy-AM" sz="1400" dirty="0" smtClean="0"/>
              <a:t>Սպասարկման առաջարկը (օրինակ՝ սակագները, տեղաբաշխման ուղիները)</a:t>
            </a:r>
          </a:p>
        </p:txBody>
      </p:sp>
      <p:cxnSp>
        <p:nvCxnSpPr>
          <p:cNvPr id="8" name="Straight Connector 7"/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1850044" y="1299485"/>
            <a:ext cx="0" cy="503716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>
            <p:custDataLst>
              <p:tags r:id="rId8"/>
            </p:custDataLst>
          </p:nvPr>
        </p:nvGrpSpPr>
        <p:grpSpPr>
          <a:xfrm>
            <a:off x="1163777" y="3351167"/>
            <a:ext cx="526001" cy="942388"/>
            <a:chOff x="5361031" y="3297892"/>
            <a:chExt cx="526001" cy="942388"/>
          </a:xfrm>
        </p:grpSpPr>
        <p:sp>
          <p:nvSpPr>
            <p:cNvPr id="10" name="Chevron 9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  <p:sp>
          <p:nvSpPr>
            <p:cNvPr id="11" name="Chevron 10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4" name="Rectangle 6"/>
          <p:cNvSpPr txBox="1">
            <a:spLocks/>
          </p:cNvSpPr>
          <p:nvPr/>
        </p:nvSpPr>
        <p:spPr bwMode="gray">
          <a:xfrm>
            <a:off x="5483609" y="5762912"/>
            <a:ext cx="259538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hy-AM" i="1" smtClean="0">
                <a:solidFill>
                  <a:schemeClr val="accent2"/>
                </a:solidFill>
                <a:latin typeface="Arial"/>
                <a:sym typeface="Arial"/>
              </a:rPr>
              <a:t>Մանրամասն հաջորդ սլայդերում </a:t>
            </a:r>
            <a:endParaRPr lang="hy-AM" i="1">
              <a:solidFill>
                <a:schemeClr val="accent2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8018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4" y="216741"/>
            <a:ext cx="7218837" cy="615553"/>
          </a:xfrm>
        </p:spPr>
        <p:txBody>
          <a:bodyPr/>
          <a:lstStyle/>
          <a:p>
            <a:r>
              <a:rPr lang="hy-AM" dirty="0" smtClean="0"/>
              <a:t>Գնահատումն իրականացվում է գործարար առաջարկի համապարփակ ուսումնասիրության հիման վրա</a:t>
            </a:r>
            <a:endParaRPr lang="hy-AM" dirty="0"/>
          </a:p>
        </p:txBody>
      </p:sp>
      <p:sp>
        <p:nvSpPr>
          <p:cNvPr id="6" name="Rectangle 6"/>
          <p:cNvSpPr txBox="1"/>
          <p:nvPr/>
        </p:nvSpPr>
        <p:spPr>
          <a:xfrm>
            <a:off x="1846990" y="1213887"/>
            <a:ext cx="14385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Բաժին 1</a:t>
            </a:r>
          </a:p>
        </p:txBody>
      </p:sp>
      <p:sp>
        <p:nvSpPr>
          <p:cNvPr id="43" name="Rectangle 6"/>
          <p:cNvSpPr txBox="1"/>
          <p:nvPr/>
        </p:nvSpPr>
        <p:spPr>
          <a:xfrm>
            <a:off x="3321897" y="1213887"/>
            <a:ext cx="501989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Ընդհանուր տեղեկություններ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Անվանում և կոնտակտային տվյալներ 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Պատմություն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ություններ օդանավերի մասին </a:t>
            </a:r>
            <a:endParaRPr lang="hy-AM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 txBox="1">
            <a:spLocks/>
          </p:cNvSpPr>
          <p:nvPr/>
        </p:nvSpPr>
        <p:spPr>
          <a:xfrm>
            <a:off x="1846990" y="1921245"/>
            <a:ext cx="14385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Բաժին 2</a:t>
            </a:r>
            <a:endParaRPr lang="hy-AM" sz="1100" b="1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6"/>
          <p:cNvSpPr txBox="1"/>
          <p:nvPr/>
        </p:nvSpPr>
        <p:spPr>
          <a:xfrm>
            <a:off x="1846990" y="2967158"/>
            <a:ext cx="14385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Բաժին 3</a:t>
            </a:r>
            <a:endParaRPr lang="hy-AM" sz="1100" b="1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6"/>
          <p:cNvSpPr txBox="1"/>
          <p:nvPr/>
        </p:nvSpPr>
        <p:spPr>
          <a:xfrm>
            <a:off x="1846990" y="4351625"/>
            <a:ext cx="14385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Բաժին 4</a:t>
            </a:r>
            <a:endParaRPr lang="hy-AM" sz="1100" b="1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6"/>
          <p:cNvSpPr txBox="1"/>
          <p:nvPr/>
        </p:nvSpPr>
        <p:spPr>
          <a:xfrm>
            <a:off x="1846990" y="5566815"/>
            <a:ext cx="143850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Բաժին 5</a:t>
            </a:r>
          </a:p>
          <a:p>
            <a:endParaRPr lang="hy-AM" sz="11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6"/>
          <p:cNvSpPr txBox="1"/>
          <p:nvPr/>
        </p:nvSpPr>
        <p:spPr>
          <a:xfrm>
            <a:off x="1846990" y="6312331"/>
            <a:ext cx="14385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1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Հավելված 1</a:t>
            </a:r>
            <a:endParaRPr lang="hy-AM" sz="1100" b="1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6"/>
          <p:cNvSpPr txBox="1">
            <a:spLocks/>
          </p:cNvSpPr>
          <p:nvPr/>
        </p:nvSpPr>
        <p:spPr>
          <a:xfrm>
            <a:off x="3321897" y="1921245"/>
            <a:ext cx="501989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2" indent="0">
              <a:buClr>
                <a:schemeClr val="tx2"/>
              </a:buClr>
              <a:buSzTx/>
              <a:buNone/>
            </a:pPr>
            <a:r>
              <a:rPr lang="hy-AM" sz="1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Կորպորատիվ կառուցվածք և սեփականատերեր 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Կորպորատիվ կառուցվածք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Պատշաճ գրանցման և գործունեության վկայական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վյալներ քաղաքացիության մասին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ություններ սեփականատերերի մասին 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ություններ ֆինանսական շահերի մասին  </a:t>
            </a:r>
            <a:endParaRPr lang="hy-AM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6"/>
          <p:cNvSpPr txBox="1"/>
          <p:nvPr/>
        </p:nvSpPr>
        <p:spPr>
          <a:xfrm>
            <a:off x="3321897" y="2967158"/>
            <a:ext cx="501989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2" indent="0">
              <a:buClr>
                <a:schemeClr val="tx2"/>
              </a:buClr>
              <a:buSzTx/>
              <a:buNone/>
            </a:pPr>
            <a:r>
              <a:rPr lang="hy-AM" sz="1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Ղեկավարության փորձ, տեխնիկական կարողություններ և ֆինանսական շահեր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Վարչակազմակերպական կառուցվածք 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Պաշտոններ և պարտականություններ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Հիմնական անձնակազմի կենսագրություններ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Հիմնական անձնակազմի քաղաքացիություն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ություններ հիմնական անձնակազմի բաժնեմասի վերաբերյալ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Հիմնական անձնակազմի փոխկապակցված ֆինանսական շահեր 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Հիմնական անձնակազմի բավարար մասնագիտական հմտություններ  </a:t>
            </a:r>
            <a:endParaRPr lang="hy-AM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6"/>
          <p:cNvSpPr txBox="1"/>
          <p:nvPr/>
        </p:nvSpPr>
        <p:spPr>
          <a:xfrm>
            <a:off x="3321897" y="4457699"/>
            <a:ext cx="501989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2" indent="0">
              <a:buClr>
                <a:schemeClr val="tx2"/>
              </a:buClr>
              <a:buSzTx/>
              <a:buNone/>
            </a:pPr>
            <a:r>
              <a:rPr lang="hy-AM" sz="1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Ֆինանսական վիճակ, կանխատեսումներ և շահագործման ծրագրեր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Հիմնական ֆինանսական հաշվետվություններ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,</a:t>
            </a:r>
            <a:r>
              <a:rPr lang="hy-AM" sz="1000" dirty="0" smtClean="0">
                <a:latin typeface="Arial" pitchFamily="34" charset="0"/>
                <a:cs typeface="Arial" pitchFamily="34" charset="0"/>
              </a:rPr>
              <a:t> ներառյալ կանխատեսումները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Սպասարկման առաջարկ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Կապիտալի վերաբերյալ կանխատեսումներ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Կապիտալի աղբյուրներ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Կապիտալի բավարարության ապացույց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ատվություն առկա պարտավորությունների մասին</a:t>
            </a:r>
            <a:endParaRPr lang="hy-AM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6"/>
          <p:cNvSpPr txBox="1"/>
          <p:nvPr/>
        </p:nvSpPr>
        <p:spPr>
          <a:xfrm>
            <a:off x="3321897" y="5566815"/>
            <a:ext cx="501989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Համապատասխանության կարգ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ատվություն ընթացիկ հայցերի և բողոքների մասին  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ատվություն գույքի սեփականության և ծանրաբեռնվածության մասին</a:t>
            </a:r>
          </a:p>
          <a:p>
            <a:r>
              <a:rPr lang="hy-AM" sz="1000" dirty="0" smtClean="0">
                <a:latin typeface="Arial" pitchFamily="34" charset="0"/>
                <a:cs typeface="Arial" pitchFamily="34" charset="0"/>
              </a:rPr>
              <a:t>Տեղեկատվություն ավիացիոն պատահարների մասին  </a:t>
            </a:r>
            <a:endParaRPr lang="hy-AM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6"/>
          <p:cNvSpPr txBox="1"/>
          <p:nvPr/>
        </p:nvSpPr>
        <p:spPr>
          <a:xfrm>
            <a:off x="3321897" y="6312331"/>
            <a:ext cx="427761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60350" lvl="1" indent="-258763" defTabSz="913526" eaLnBrk="1" hangingPunct="1">
              <a:buClr>
                <a:schemeClr val="accent5"/>
              </a:buClr>
              <a:buSzPct val="10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5138" lvl="2" indent="-203200" defTabSz="913526" eaLnBrk="1" hangingPunct="1">
              <a:buClr>
                <a:schemeClr val="accent5"/>
              </a:buClr>
              <a:buSzPct val="13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90563" lvl="3" indent="-225425" defTabSz="913526" eaLnBrk="1" hangingPunct="1">
              <a:buClr>
                <a:schemeClr val="accent5"/>
              </a:buClr>
              <a:buSzPct val="80000"/>
              <a:buFont typeface="Wingdings" pitchFamily="2" charset="2"/>
              <a:buChar char="Ø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65188" lvl="4" indent="-174625" defTabSz="913526" eaLnBrk="1" hangingPunct="1">
              <a:buClr>
                <a:schemeClr val="accent5"/>
              </a:buClr>
              <a:buSzPct val="100000"/>
              <a:buFont typeface="Arial" pitchFamily="34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b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Գործարար ծրագիր </a:t>
            </a:r>
            <a:endParaRPr lang="hy-AM" sz="1000" b="1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884745" y="1878110"/>
            <a:ext cx="5796215" cy="3685471"/>
            <a:chOff x="2461047" y="1792046"/>
            <a:chExt cx="5574905" cy="3685471"/>
          </a:xfrm>
        </p:grpSpPr>
        <p:cxnSp>
          <p:nvCxnSpPr>
            <p:cNvPr id="51" name="Straight Connector 50"/>
            <p:cNvCxnSpPr>
              <a:cxnSpLocks/>
            </p:cNvCxnSpPr>
            <p:nvPr/>
          </p:nvCxnSpPr>
          <p:spPr>
            <a:xfrm>
              <a:off x="2461047" y="2874412"/>
              <a:ext cx="5574905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>
              <a:off x="2461047" y="1792046"/>
              <a:ext cx="5574905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cxnSpLocks/>
            </p:cNvCxnSpPr>
            <p:nvPr/>
          </p:nvCxnSpPr>
          <p:spPr>
            <a:xfrm>
              <a:off x="2461047" y="4256827"/>
              <a:ext cx="5574905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>
              <a:cxnSpLocks/>
            </p:cNvCxnSpPr>
            <p:nvPr/>
          </p:nvCxnSpPr>
          <p:spPr>
            <a:xfrm>
              <a:off x="2461047" y="5477517"/>
              <a:ext cx="5574905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6" name="Straight Connector 55"/>
          <p:cNvCxnSpPr>
            <a:cxnSpLocks/>
          </p:cNvCxnSpPr>
          <p:nvPr/>
        </p:nvCxnSpPr>
        <p:spPr>
          <a:xfrm>
            <a:off x="1846990" y="6301573"/>
            <a:ext cx="583397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1"/>
            </p:custDataLst>
          </p:nvPr>
        </p:nvSpPr>
        <p:spPr>
          <a:xfrm>
            <a:off x="1327801" y="1200303"/>
            <a:ext cx="7044673" cy="5514822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y-AM" smtClean="0">
              <a:solidFill>
                <a:schemeClr val="tx1"/>
              </a:solidFill>
            </a:endParaRPr>
          </a:p>
        </p:txBody>
      </p:sp>
      <p:sp>
        <p:nvSpPr>
          <p:cNvPr id="32" name="McK 3. Unit of measur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hy-AM" sz="1600" baseline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Պահանջվող փաստաթղթեր</a:t>
            </a:r>
          </a:p>
        </p:txBody>
      </p:sp>
    </p:spTree>
    <p:extLst>
      <p:ext uri="{BB962C8B-B14F-4D97-AF65-F5344CB8AC3E}">
        <p14:creationId xmlns:p14="http://schemas.microsoft.com/office/powerpoint/2010/main" val="14831072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2667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72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 hidden="1"/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000" dirty="0" err="1" smtClean="0">
              <a:solidFill>
                <a:schemeClr val="tx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ltGray">
          <a:xfrm>
            <a:off x="174944" y="247519"/>
            <a:ext cx="7218837" cy="584775"/>
          </a:xfrm>
        </p:spPr>
        <p:txBody>
          <a:bodyPr/>
          <a:lstStyle/>
          <a:p>
            <a:r>
              <a:rPr lang="hy-AM" sz="1900" smtClean="0"/>
              <a:t>Որոշում կայացնելու չափանիշները հիմնված են 3 հիմնական նպատակների վրա</a:t>
            </a:r>
            <a:endParaRPr lang="hy-AM" sz="1900"/>
          </a:p>
        </p:txBody>
      </p:sp>
      <p:sp>
        <p:nvSpPr>
          <p:cNvPr id="11" name="Rectangle 6"/>
          <p:cNvSpPr txBox="1">
            <a:spLocks/>
          </p:cNvSpPr>
          <p:nvPr>
            <p:custDataLst>
              <p:tags r:id="rId5"/>
            </p:custDataLst>
          </p:nvPr>
        </p:nvSpPr>
        <p:spPr bwMode="ltGray">
          <a:xfrm>
            <a:off x="3625825" y="1497400"/>
            <a:ext cx="1907589" cy="308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1463">
              <a:spcBef>
                <a:spcPct val="80000"/>
              </a:spcBef>
            </a:pPr>
            <a:r>
              <a:rPr lang="hy-AM" sz="1800" dirty="0" smtClean="0">
                <a:solidFill>
                  <a:schemeClr val="accent2"/>
                </a:solidFill>
              </a:rPr>
              <a:t>Կենսունակ ծառայությ</a:t>
            </a:r>
            <a:r>
              <a:rPr lang="en-US" sz="1800" dirty="0" err="1" smtClean="0">
                <a:solidFill>
                  <a:schemeClr val="accent2"/>
                </a:solidFill>
              </a:rPr>
              <a:t>ու</a:t>
            </a:r>
            <a:r>
              <a:rPr lang="hy-AM" sz="1800" dirty="0" smtClean="0">
                <a:solidFill>
                  <a:schemeClr val="accent2"/>
                </a:solidFill>
              </a:rPr>
              <a:t>նների և պրոդուկտների առաջարկ 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Հուսալի ծառայության առաջարկ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Չվերթի հուսալի սպասարկում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Հայկական ավիափոխադրողների հետ ռացիոնալ մրցակցություն</a:t>
            </a:r>
            <a:endParaRPr lang="hy-AM" sz="1200" dirty="0"/>
          </a:p>
        </p:txBody>
      </p:sp>
      <p:sp>
        <p:nvSpPr>
          <p:cNvPr id="18" name="Rectangle 6"/>
          <p:cNvSpPr txBox="1"/>
          <p:nvPr>
            <p:custDataLst>
              <p:tags r:id="rId6"/>
            </p:custDataLst>
          </p:nvPr>
        </p:nvSpPr>
        <p:spPr bwMode="ltGray">
          <a:xfrm>
            <a:off x="3581804" y="1461398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2</a:t>
            </a:r>
            <a:endParaRPr lang="hy-AM" sz="3600" b="1">
              <a:solidFill>
                <a:schemeClr val="accent2"/>
              </a:solidFill>
            </a:endParaRPr>
          </a:p>
        </p:txBody>
      </p:sp>
      <p:sp>
        <p:nvSpPr>
          <p:cNvPr id="10" name="Rectangle 6"/>
          <p:cNvSpPr txBox="1">
            <a:spLocks/>
          </p:cNvSpPr>
          <p:nvPr>
            <p:custDataLst>
              <p:tags r:id="rId7"/>
            </p:custDataLst>
          </p:nvPr>
        </p:nvSpPr>
        <p:spPr bwMode="ltGray">
          <a:xfrm>
            <a:off x="5733796" y="1497400"/>
            <a:ext cx="1907589" cy="3360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1463">
              <a:spcBef>
                <a:spcPct val="80000"/>
              </a:spcBef>
            </a:pPr>
            <a:r>
              <a:rPr lang="hy-AM" sz="1800" dirty="0" smtClean="0">
                <a:solidFill>
                  <a:schemeClr val="accent2"/>
                </a:solidFill>
              </a:rPr>
              <a:t>Ապահով և պրոֆեսիոնալ գործունեություն 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Բավարար առևտրային փորձ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5 հիմնական  գործառույթներն իրականացնող կազմակերպություն 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Անվտանգության բարձր և միջազգային լավագույն փորձին համապատասխանող  չափանիշներ </a:t>
            </a:r>
          </a:p>
        </p:txBody>
      </p:sp>
      <p:sp>
        <p:nvSpPr>
          <p:cNvPr id="17" name="Rectangle 6"/>
          <p:cNvSpPr txBox="1"/>
          <p:nvPr>
            <p:custDataLst>
              <p:tags r:id="rId8"/>
            </p:custDataLst>
          </p:nvPr>
        </p:nvSpPr>
        <p:spPr bwMode="ltGray">
          <a:xfrm>
            <a:off x="5679494" y="1468713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3</a:t>
            </a:r>
            <a:endParaRPr lang="hy-AM" sz="3600" b="1">
              <a:solidFill>
                <a:schemeClr val="accent2"/>
              </a:solidFill>
            </a:endParaRPr>
          </a:p>
        </p:txBody>
      </p:sp>
      <p:sp>
        <p:nvSpPr>
          <p:cNvPr id="12" name="Rectangle 6"/>
          <p:cNvSpPr txBox="1">
            <a:spLocks/>
          </p:cNvSpPr>
          <p:nvPr>
            <p:custDataLst>
              <p:tags r:id="rId9"/>
            </p:custDataLst>
          </p:nvPr>
        </p:nvSpPr>
        <p:spPr bwMode="ltGray">
          <a:xfrm>
            <a:off x="1376979" y="1497400"/>
            <a:ext cx="2045195" cy="34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1463">
              <a:spcBef>
                <a:spcPct val="80000"/>
              </a:spcBef>
            </a:pPr>
            <a:r>
              <a:rPr lang="hy-AM" sz="1800" dirty="0" smtClean="0">
                <a:solidFill>
                  <a:schemeClr val="accent2"/>
                </a:solidFill>
              </a:rPr>
              <a:t>Ֆինանսական կայունություն</a:t>
            </a:r>
          </a:p>
          <a:p>
            <a:pPr lvl="1">
              <a:spcBef>
                <a:spcPct val="40000"/>
              </a:spcBef>
            </a:pPr>
            <a:endParaRPr lang="hy-AM" sz="1400" dirty="0" smtClean="0"/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Աշխատանքային ռեժիմի անցնելու ժամանակ սկզբնական և գործառնական ծախսերը վճարելու համար բավարար կապիտալի առկայություն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Երկարաժամկետ տնտեսական կենսունակության համար բավարար մասշտաբներ</a:t>
            </a:r>
          </a:p>
          <a:p>
            <a:pPr lvl="1">
              <a:spcBef>
                <a:spcPct val="40000"/>
              </a:spcBef>
            </a:pPr>
            <a:r>
              <a:rPr lang="hy-AM" sz="1200" dirty="0" smtClean="0"/>
              <a:t>Սնանկության ցածր ռիսկ </a:t>
            </a:r>
            <a:endParaRPr lang="hy-AM" dirty="0"/>
          </a:p>
        </p:txBody>
      </p:sp>
      <p:sp>
        <p:nvSpPr>
          <p:cNvPr id="19" name="Rectangle 6"/>
          <p:cNvSpPr txBox="1"/>
          <p:nvPr>
            <p:custDataLst>
              <p:tags r:id="rId10"/>
            </p:custDataLst>
          </p:nvPr>
        </p:nvSpPr>
        <p:spPr bwMode="ltGray">
          <a:xfrm>
            <a:off x="1374475" y="1534550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1</a:t>
            </a:r>
            <a:endParaRPr lang="hy-AM" sz="3600" b="1">
              <a:solidFill>
                <a:schemeClr val="accent2"/>
              </a:solidFill>
            </a:endParaRPr>
          </a:p>
        </p:txBody>
      </p:sp>
      <p:cxnSp>
        <p:nvCxnSpPr>
          <p:cNvPr id="23" name="Straight Connector 22"/>
          <p:cNvCxnSpPr>
            <a:cxnSpLocks/>
          </p:cNvCxnSpPr>
          <p:nvPr>
            <p:custDataLst>
              <p:tags r:id="rId11"/>
            </p:custDataLst>
          </p:nvPr>
        </p:nvCxnSpPr>
        <p:spPr bwMode="ltGray">
          <a:xfrm>
            <a:off x="1531484" y="5186537"/>
            <a:ext cx="6102281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9"/>
          <p:cNvSpPr txBox="1"/>
          <p:nvPr>
            <p:custDataLst>
              <p:tags r:id="rId12"/>
            </p:custDataLst>
          </p:nvPr>
        </p:nvSpPr>
        <p:spPr bwMode="ltGray">
          <a:xfrm>
            <a:off x="3518611" y="5017260"/>
            <a:ext cx="1960474" cy="3385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hy-AM" sz="1400" smtClean="0">
                <a:solidFill>
                  <a:schemeClr val="accent2"/>
                </a:solidFill>
              </a:rPr>
              <a:t>Ընդհանուր նպատակը</a:t>
            </a:r>
            <a:endParaRPr lang="hy-AM" sz="1400">
              <a:solidFill>
                <a:schemeClr val="accent2"/>
              </a:solidFill>
            </a:endParaRPr>
          </a:p>
        </p:txBody>
      </p:sp>
      <p:sp>
        <p:nvSpPr>
          <p:cNvPr id="22" name="Rectangle 6"/>
          <p:cNvSpPr txBox="1">
            <a:spLocks/>
          </p:cNvSpPr>
          <p:nvPr>
            <p:custDataLst>
              <p:tags r:id="rId13"/>
            </p:custDataLst>
          </p:nvPr>
        </p:nvSpPr>
        <p:spPr bwMode="ltGray">
          <a:xfrm>
            <a:off x="1516853" y="5393501"/>
            <a:ext cx="6102281" cy="1043875"/>
          </a:xfrm>
          <a:prstGeom prst="rect">
            <a:avLst/>
          </a:prstGeom>
          <a:gradFill flip="none" rotWithShape="1">
            <a:gsLst>
              <a:gs pos="11300">
                <a:schemeClr val="accent2">
                  <a:lumMod val="60000"/>
                  <a:lumOff val="40000"/>
                </a:schemeClr>
              </a:gs>
              <a:gs pos="0">
                <a:schemeClr val="bg1"/>
              </a:gs>
              <a:gs pos="100000">
                <a:schemeClr val="accent2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45720" rIns="72009" bIns="4572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hy-AM" sz="2000" dirty="0" smtClean="0"/>
              <a:t>Ազգային և միջազգային մակարդակով ՀՀ ավիացիայի ոլորտի բարձր հեղինակության ձևավորում </a:t>
            </a:r>
            <a:endParaRPr lang="hy-AM" sz="2000" dirty="0"/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3490754" y="1548610"/>
            <a:ext cx="0" cy="336372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5609694" y="1548610"/>
            <a:ext cx="0" cy="336372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91616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089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3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ltGray">
          <a:xfrm>
            <a:off x="566056" y="216741"/>
            <a:ext cx="6827725" cy="615553"/>
          </a:xfrm>
        </p:spPr>
        <p:txBody>
          <a:bodyPr/>
          <a:lstStyle/>
          <a:p>
            <a:r>
              <a:rPr lang="hy-AM" dirty="0" smtClean="0"/>
              <a:t>Սնանկության ցածր ռիսկով կայուն գործունեության ապահովման համար բավարար կապիտալի պահանջ</a:t>
            </a:r>
            <a:endParaRPr lang="hy-AM" dirty="0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lt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baseline="0" noProof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Աղբյու</a:t>
            </a:r>
            <a:r>
              <a:rPr lang="hy-AM" sz="100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ր՝ «Արմավիա» ընկերության 2009, 2010 թթ. տարեկան հաշվետվություններ; ՔԱՄԿ</a:t>
            </a:r>
            <a:endParaRPr lang="hy-AM" sz="1000" baseline="0" noProof="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Rectangle 6"/>
          <p:cNvSpPr txBox="1"/>
          <p:nvPr>
            <p:custDataLst>
              <p:tags r:id="rId6"/>
            </p:custDataLst>
          </p:nvPr>
        </p:nvSpPr>
        <p:spPr bwMode="ltGray">
          <a:xfrm>
            <a:off x="174944" y="235010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1</a:t>
            </a:r>
            <a:endParaRPr lang="hy-AM" sz="3600" b="1" dirty="0">
              <a:solidFill>
                <a:schemeClr val="accent2"/>
              </a:solidFill>
            </a:endParaRPr>
          </a:p>
        </p:txBody>
      </p:sp>
      <p:sp>
        <p:nvSpPr>
          <p:cNvPr id="113" name="Rectangle 6"/>
          <p:cNvSpPr txBox="1"/>
          <p:nvPr>
            <p:custDataLst>
              <p:tags r:id="rId7"/>
            </p:custDataLst>
          </p:nvPr>
        </p:nvSpPr>
        <p:spPr bwMode="ltGray">
          <a:xfrm>
            <a:off x="2141220" y="1592203"/>
            <a:ext cx="5897880" cy="364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200" dirty="0" smtClean="0"/>
              <a:t>Սկզբնական ծախսերը հոգալու և բոլոր անհրաժեշտ գործառույթներով և համակարգերով ավիափոխադրողի ստեղծման համար բավարար նախնական կապիտալի առկայություն: Լիցենզավորման չափանիշներից կախված՝ տեղական ավիափոխադրողը հավանաբար կունենա </a:t>
            </a:r>
            <a:r>
              <a:rPr lang="hy-AM" sz="1200" dirty="0" smtClean="0">
                <a:latin typeface="Sylfaen" pitchFamily="18" charset="0"/>
              </a:rPr>
              <a:t>4-6</a:t>
            </a:r>
            <a:r>
              <a:rPr lang="hy-AM" sz="1200" dirty="0" smtClean="0"/>
              <a:t> օդանավ: Այս պարագայում սկզբնական ծախերը կկազմեն </a:t>
            </a:r>
            <a:r>
              <a:rPr lang="hy-AM" sz="1200" dirty="0" smtClean="0">
                <a:solidFill>
                  <a:schemeClr val="accent2"/>
                </a:solidFill>
                <a:latin typeface="Sylfaen" pitchFamily="18" charset="0"/>
              </a:rPr>
              <a:t>15 – 20 միլիոն </a:t>
            </a:r>
            <a:r>
              <a:rPr lang="hy-AM" sz="1200" dirty="0" smtClean="0">
                <a:solidFill>
                  <a:schemeClr val="accent2"/>
                </a:solidFill>
              </a:rPr>
              <a:t>ԱՄՆ դոլար:</a:t>
            </a:r>
          </a:p>
          <a:p>
            <a:pPr lvl="1">
              <a:spcBef>
                <a:spcPct val="50000"/>
              </a:spcBef>
            </a:pPr>
            <a:r>
              <a:rPr lang="hy-AM" sz="1200" dirty="0" smtClean="0">
                <a:solidFill>
                  <a:schemeClr val="accent2"/>
                </a:solidFill>
              </a:rPr>
              <a:t>Նվազագույնը երկու տարվա ընթացքում կանոնավոր </a:t>
            </a:r>
            <a:r>
              <a:rPr lang="hy-AM" sz="1200" dirty="0" smtClean="0"/>
              <a:t>գործունեության</a:t>
            </a:r>
            <a:r>
              <a:rPr lang="hy-AM" sz="1200" dirty="0" smtClean="0">
                <a:solidFill>
                  <a:schemeClr val="accent2"/>
                </a:solidFill>
              </a:rPr>
              <a:t> ֆինանսավորման և ապահովման համար բավարար ֆինանսական միջոցների առկայություն</a:t>
            </a:r>
          </a:p>
          <a:p>
            <a:pPr lvl="2">
              <a:spcBef>
                <a:spcPct val="25000"/>
              </a:spcBef>
            </a:pPr>
            <a:r>
              <a:rPr lang="hy-AM" sz="1200" dirty="0" smtClean="0"/>
              <a:t>Գործունեության առաջին 3 ամ</a:t>
            </a:r>
            <a:r>
              <a:rPr lang="en-US" sz="1200" dirty="0" err="1" smtClean="0"/>
              <a:t>իսների</a:t>
            </a:r>
            <a:r>
              <a:rPr lang="en-US" sz="1200" dirty="0" smtClean="0"/>
              <a:t> </a:t>
            </a:r>
            <a:r>
              <a:rPr lang="en-US" sz="1200" dirty="0" err="1" smtClean="0"/>
              <a:t>ընթացքում</a:t>
            </a:r>
            <a:r>
              <a:rPr lang="hy-AM" sz="1200" dirty="0" smtClean="0"/>
              <a:t> գործառնական և վրադիր ծախսեր կամ</a:t>
            </a:r>
          </a:p>
          <a:p>
            <a:pPr lvl="2">
              <a:spcBef>
                <a:spcPct val="25000"/>
              </a:spcBef>
            </a:pPr>
            <a:r>
              <a:rPr lang="hy-AM" sz="1200" dirty="0" smtClean="0"/>
              <a:t>Առաջին տարվա սպասվող եկամտի </a:t>
            </a:r>
            <a:r>
              <a:rPr lang="hy-AM" sz="1200" dirty="0" smtClean="0">
                <a:latin typeface="Sylfaen" pitchFamily="18" charset="0"/>
              </a:rPr>
              <a:t>20%-ը</a:t>
            </a:r>
          </a:p>
          <a:p>
            <a:pPr lvl="2">
              <a:spcBef>
                <a:spcPct val="25000"/>
              </a:spcBef>
            </a:pPr>
            <a:r>
              <a:rPr lang="hy-AM" sz="1200" dirty="0" smtClean="0"/>
              <a:t>Լիցենզավորման չափանիշներից կախված՝ տեղական ավիափոխադրողը հավանաբար </a:t>
            </a:r>
            <a:r>
              <a:rPr lang="hy-AM" sz="1200" dirty="0" smtClean="0">
                <a:latin typeface="Sylfaen" pitchFamily="18" charset="0"/>
              </a:rPr>
              <a:t>կունենա 4-6 օդանավ: Այս </a:t>
            </a:r>
            <a:r>
              <a:rPr lang="hy-AM" sz="1200" dirty="0" smtClean="0"/>
              <a:t>դեպքում </a:t>
            </a:r>
            <a:r>
              <a:rPr lang="hy-AM" sz="1200" dirty="0" smtClean="0">
                <a:solidFill>
                  <a:schemeClr val="accent2"/>
                </a:solidFill>
              </a:rPr>
              <a:t>առաջին եռամսյակի գործառնական ծախսերը հոգալու համար կպահանջվի 30 – 45 միլիոն ԱՄՆ դոլար: </a:t>
            </a:r>
          </a:p>
          <a:p>
            <a:pPr lvl="1">
              <a:spcBef>
                <a:spcPct val="50000"/>
              </a:spcBef>
            </a:pPr>
            <a:r>
              <a:rPr lang="hy-AM" sz="1200" dirty="0" smtClean="0"/>
              <a:t>Մանրամասն հաշվարկներով և ենթադրություններով (ներառյալ օդանավի նախատեսվող շահագործումը և </a:t>
            </a:r>
            <a:r>
              <a:rPr lang="hy-AM" sz="1200" dirty="0" smtClean="0">
                <a:latin typeface="Sylfaen" pitchFamily="18" charset="0"/>
              </a:rPr>
              <a:t>1</a:t>
            </a:r>
            <a:r>
              <a:rPr lang="hy-AM" sz="1200" dirty="0" smtClean="0"/>
              <a:t> ժամ թռիչքից ստացվող եկամուտը) գործարար ծրագրի վրա հիմնված գնահատում</a:t>
            </a:r>
          </a:p>
        </p:txBody>
      </p:sp>
      <p:sp>
        <p:nvSpPr>
          <p:cNvPr id="18" name="Rectangle 6"/>
          <p:cNvSpPr txBox="1">
            <a:spLocks/>
          </p:cNvSpPr>
          <p:nvPr>
            <p:custDataLst>
              <p:tags r:id="rId8"/>
            </p:custDataLst>
          </p:nvPr>
        </p:nvSpPr>
        <p:spPr bwMode="ltGray">
          <a:xfrm>
            <a:off x="571360" y="3500417"/>
            <a:ext cx="130062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400" smtClean="0">
                <a:solidFill>
                  <a:schemeClr val="accent2"/>
                </a:solidFill>
              </a:rPr>
              <a:t>Ֆինանսական կայունության </a:t>
            </a:r>
            <a:r>
              <a:rPr lang="hy-AM" sz="1400" dirty="0" smtClean="0">
                <a:solidFill>
                  <a:schemeClr val="accent2"/>
                </a:solidFill>
              </a:rPr>
              <a:t>չափանիշները</a:t>
            </a:r>
            <a:endParaRPr lang="hy-AM" sz="1400" dirty="0">
              <a:solidFill>
                <a:schemeClr val="accent2"/>
              </a:solidFill>
            </a:endParaRPr>
          </a:p>
        </p:txBody>
      </p:sp>
      <p:cxnSp>
        <p:nvCxnSpPr>
          <p:cNvPr id="19" name="Straight Connector 18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1986280" y="1363297"/>
            <a:ext cx="0" cy="4920572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48135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1589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60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ltGray">
          <a:xfrm>
            <a:off x="566056" y="216741"/>
            <a:ext cx="6827725" cy="615553"/>
          </a:xfrm>
        </p:spPr>
        <p:txBody>
          <a:bodyPr/>
          <a:lstStyle/>
          <a:p>
            <a:r>
              <a:rPr lang="hy-AM" smtClean="0"/>
              <a:t>Սկզբնական ծախսերի բաշխումը թույլ է տալիս  դասակարգել և տարբերակել գործարար առաջարկները</a:t>
            </a:r>
            <a:endParaRPr lang="hy-AM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lt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baseline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Աղբյուր՝ ՔԱՄԿ</a:t>
            </a:r>
            <a:endParaRPr lang="hy-AM" sz="1000" baseline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6" name="Object 7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50684194"/>
              </p:ext>
            </p:extLst>
          </p:nvPr>
        </p:nvGraphicFramePr>
        <p:xfrm>
          <a:off x="1552575" y="2671763"/>
          <a:ext cx="2847857" cy="28479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61" name="Chart" r:id="rId25" imgW="2848043" imgH="2848043" progId="MSGraph.Chart.8">
                  <p:embed followColorScheme="full"/>
                </p:oleObj>
              </mc:Choice>
              <mc:Fallback>
                <p:oleObj name="Chart" r:id="rId25" imgW="2848043" imgH="2848043" progId="MSGraph.Chart.8">
                  <p:embed followColorScheme="full"/>
                  <p:pic>
                    <p:nvPicPr>
                      <p:cNvPr id="0" name="Picture 109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2575" y="2671763"/>
                        <a:ext cx="2847857" cy="28479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76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ltGray">
          <a:xfrm>
            <a:off x="2624138" y="2497138"/>
            <a:ext cx="5095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mtClean="0">
                <a:sym typeface="Arial"/>
              </a:rPr>
              <a:t>Այլ</a:t>
            </a:r>
            <a:endParaRPr lang="hy-AM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ltGray">
          <a:xfrm>
            <a:off x="2311400" y="2943225"/>
            <a:ext cx="2762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064B3BA-6E2E-4C45-9D08-FA8DD2A490DB}" type="datetime'1''''''''1'''''''''''''''''''''''''''''">
              <a:rPr lang="hy-AM" b="1" smtClean="0">
                <a:solidFill>
                  <a:schemeClr val="bg1"/>
                </a:solidFill>
              </a:rPr>
              <a:pPr algn="ctr"/>
              <a:t>11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ltGray">
          <a:xfrm>
            <a:off x="2816225" y="278606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5C2443-A627-4F83-B8BE-6FE518575629}" type="datetime'''2'''''">
              <a:rPr lang="hy-AM" b="1" smtClean="0">
                <a:solidFill>
                  <a:schemeClr val="bg1"/>
                </a:solidFill>
              </a:rPr>
              <a:pPr algn="ctr"/>
              <a:t>2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ltGray">
          <a:xfrm>
            <a:off x="828675" y="2354263"/>
            <a:ext cx="162718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mtClean="0"/>
              <a:t>Գովազդ, վաճառք,  </a:t>
            </a:r>
          </a:p>
          <a:p>
            <a:r>
              <a:rPr lang="hy-AM" smtClean="0"/>
              <a:t>բաշխում</a:t>
            </a:r>
            <a:endParaRPr lang="hy-AM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ltGray">
          <a:xfrm>
            <a:off x="1727200" y="3608388"/>
            <a:ext cx="2762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DBB1BF3-E8C0-4123-8DA7-DD7CD8D7483A}" type="datetime'''''1''''''''''''''''''''''''''''''''''''''''''''''4'">
              <a:rPr lang="hy-AM" b="1" smtClean="0">
                <a:solidFill>
                  <a:schemeClr val="bg1"/>
                </a:solidFill>
              </a:rPr>
              <a:pPr algn="ctr"/>
              <a:t>14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84" name="Rectangle 8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ltGray">
          <a:xfrm>
            <a:off x="371475" y="3336925"/>
            <a:ext cx="12525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dirty="0" smtClean="0"/>
              <a:t>Ընդհանուր</a:t>
            </a:r>
          </a:p>
          <a:p>
            <a:r>
              <a:rPr lang="hy-AM" dirty="0" smtClean="0"/>
              <a:t>և վարչական</a:t>
            </a:r>
          </a:p>
          <a:p>
            <a:r>
              <a:rPr lang="hy-AM" dirty="0" smtClean="0"/>
              <a:t>ծախսեր </a:t>
            </a:r>
            <a:endParaRPr lang="hy-AM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ltGray">
          <a:xfrm>
            <a:off x="365125" y="4600575"/>
            <a:ext cx="133350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 </a:t>
            </a:r>
            <a:r>
              <a:rPr lang="hy-AM" dirty="0" smtClean="0"/>
              <a:t>Վերգետնյա</a:t>
            </a:r>
          </a:p>
          <a:p>
            <a:r>
              <a:rPr lang="hy-AM" dirty="0" smtClean="0"/>
              <a:t> ծառայության</a:t>
            </a:r>
          </a:p>
          <a:p>
            <a:r>
              <a:rPr lang="hy-AM" dirty="0" smtClean="0"/>
              <a:t> և կայանատեղիների</a:t>
            </a:r>
          </a:p>
          <a:p>
            <a:r>
              <a:rPr lang="hy-AM" dirty="0" smtClean="0"/>
              <a:t> ստեղծում </a:t>
            </a:r>
            <a:endParaRPr lang="hy-AM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ltGray">
          <a:xfrm>
            <a:off x="3203575" y="5419725"/>
            <a:ext cx="11176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dirty="0" smtClean="0"/>
              <a:t>Թռիչքային </a:t>
            </a:r>
          </a:p>
          <a:p>
            <a:r>
              <a:rPr lang="hy-AM" dirty="0" smtClean="0"/>
              <a:t>գործունեության ծավալում</a:t>
            </a:r>
            <a:endParaRPr lang="hy-AM" dirty="0" smtClean="0">
              <a:sym typeface="Arial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ltGray">
          <a:xfrm>
            <a:off x="2024063" y="4778375"/>
            <a:ext cx="2762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0A338E9-754A-471F-9B23-4010265A5F59}" type="datetime'''''''''''''''''''''''''''''''''''2''''1'''''''''">
              <a:rPr lang="hy-AM" b="1" smtClean="0">
                <a:solidFill>
                  <a:schemeClr val="bg1"/>
                </a:solidFill>
              </a:rPr>
              <a:pPr algn="ctr"/>
              <a:t>21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ltGray">
          <a:xfrm>
            <a:off x="3952256" y="2786766"/>
            <a:ext cx="12525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 </a:t>
            </a:r>
            <a:r>
              <a:rPr lang="hy-AM" dirty="0" smtClean="0"/>
              <a:t>Օդանավի</a:t>
            </a:r>
          </a:p>
          <a:p>
            <a:r>
              <a:rPr lang="hy-AM" dirty="0" smtClean="0"/>
              <a:t> վարձակալում</a:t>
            </a:r>
            <a:r>
              <a:rPr lang="hy-AM" dirty="0" smtClean="0">
                <a:solidFill>
                  <a:srgbClr val="FF0000"/>
                </a:solidFill>
              </a:rPr>
              <a:t> </a:t>
            </a:r>
            <a:r>
              <a:rPr lang="hy-AM" dirty="0" smtClean="0"/>
              <a:t>և</a:t>
            </a:r>
          </a:p>
          <a:p>
            <a:r>
              <a:rPr lang="hy-AM" dirty="0" smtClean="0"/>
              <a:t> պաշտպանության</a:t>
            </a:r>
          </a:p>
          <a:p>
            <a:r>
              <a:rPr lang="en-US" dirty="0" smtClean="0"/>
              <a:t> </a:t>
            </a:r>
            <a:r>
              <a:rPr lang="hy-AM" dirty="0" smtClean="0"/>
              <a:t>միջոցներ</a:t>
            </a:r>
          </a:p>
          <a:p>
            <a:r>
              <a:rPr lang="hy-AM" dirty="0" smtClean="0"/>
              <a:t/>
            </a:r>
            <a:br>
              <a:rPr lang="hy-AM" dirty="0" smtClean="0"/>
            </a:br>
            <a:endParaRPr lang="hy-AM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3" name="Rectangle 6"/>
          <p:cNvSpPr txBox="1"/>
          <p:nvPr>
            <p:custDataLst>
              <p:tags r:id="rId17"/>
            </p:custDataLst>
          </p:nvPr>
        </p:nvSpPr>
        <p:spPr bwMode="ltGray">
          <a:xfrm>
            <a:off x="6183630" y="1904922"/>
            <a:ext cx="2533650" cy="3834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60000"/>
              </a:spcBef>
            </a:pPr>
            <a:r>
              <a:rPr lang="hy-AM" sz="1400" dirty="0" smtClean="0"/>
              <a:t>Ամենամեծ կապիտալը պահանջվում է օդանավերի ձեռքբերման համար </a:t>
            </a:r>
          </a:p>
          <a:p>
            <a:pPr lvl="1">
              <a:spcBef>
                <a:spcPct val="60000"/>
              </a:spcBef>
            </a:pPr>
            <a:r>
              <a:rPr lang="hy-AM" sz="1400" dirty="0" smtClean="0"/>
              <a:t>Մնացած ներդրումների շարքում առավել խոշորները հետևյալն են.</a:t>
            </a:r>
          </a:p>
          <a:p>
            <a:pPr lvl="2">
              <a:spcBef>
                <a:spcPct val="30000"/>
              </a:spcBef>
            </a:pPr>
            <a:r>
              <a:rPr lang="hy-AM" sz="1400" dirty="0" smtClean="0"/>
              <a:t>ՏՏ ենթակառուցվածքի մշակում</a:t>
            </a:r>
          </a:p>
          <a:p>
            <a:pPr lvl="2">
              <a:spcBef>
                <a:spcPct val="30000"/>
              </a:spcBef>
            </a:pPr>
            <a:r>
              <a:rPr lang="hy-AM" sz="1400" dirty="0" smtClean="0"/>
              <a:t>Վերգետնյա ենթակառուցվածքի մշակում</a:t>
            </a:r>
          </a:p>
          <a:p>
            <a:pPr lvl="2">
              <a:spcBef>
                <a:spcPct val="30000"/>
              </a:spcBef>
            </a:pPr>
            <a:r>
              <a:rPr lang="hy-AM" sz="1400" dirty="0" smtClean="0"/>
              <a:t>Աշխատակիցների վերապատրաստում և սարքավորումների ձեռքբերում </a:t>
            </a:r>
          </a:p>
          <a:p>
            <a:pPr lvl="2">
              <a:spcBef>
                <a:spcPct val="30000"/>
              </a:spcBef>
            </a:pPr>
            <a:r>
              <a:rPr lang="hy-AM" sz="1400" dirty="0" smtClean="0"/>
              <a:t>Ցանցի կառավարում</a:t>
            </a:r>
            <a:endParaRPr lang="hy-AM" sz="1400" dirty="0"/>
          </a:p>
        </p:txBody>
      </p:sp>
      <p:sp>
        <p:nvSpPr>
          <p:cNvPr id="36" name="Rectangle 6"/>
          <p:cNvSpPr txBox="1"/>
          <p:nvPr>
            <p:custDataLst>
              <p:tags r:id="rId18"/>
            </p:custDataLst>
          </p:nvPr>
        </p:nvSpPr>
        <p:spPr bwMode="ltGray">
          <a:xfrm>
            <a:off x="174944" y="235010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1</a:t>
            </a:r>
            <a:endParaRPr lang="hy-AM" sz="3600" b="1">
              <a:solidFill>
                <a:schemeClr val="accent2"/>
              </a:solidFill>
            </a:endParaRPr>
          </a:p>
        </p:txBody>
      </p:sp>
      <p:sp>
        <p:nvSpPr>
          <p:cNvPr id="35" name="Rectangle 6"/>
          <p:cNvSpPr txBox="1"/>
          <p:nvPr>
            <p:custDataLst>
              <p:tags r:id="rId19"/>
            </p:custDataLst>
          </p:nvPr>
        </p:nvSpPr>
        <p:spPr bwMode="ltGray">
          <a:xfrm>
            <a:off x="383223" y="1767523"/>
            <a:ext cx="369075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hy-AM" smtClean="0">
                <a:solidFill>
                  <a:srgbClr val="808080"/>
                </a:solidFill>
                <a:latin typeface="Arial"/>
                <a:ea typeface="Arial Unicode MS"/>
                <a:cs typeface="Arial"/>
              </a:rPr>
              <a:t>Ընդհանուր սկզբնական ծախսերի տոկոսը </a:t>
            </a:r>
            <a:endParaRPr lang="hy-AM">
              <a:solidFill>
                <a:schemeClr val="accent6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23" name="Rectangle 6"/>
          <p:cNvSpPr txBox="1">
            <a:spLocks/>
          </p:cNvSpPr>
          <p:nvPr>
            <p:custDataLst>
              <p:tags r:id="rId20"/>
            </p:custDataLst>
          </p:nvPr>
        </p:nvSpPr>
        <p:spPr bwMode="ltGray">
          <a:xfrm>
            <a:off x="383223" y="1400333"/>
            <a:ext cx="58526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2000" smtClean="0"/>
              <a:t>Սկզբնական ծախսերի բաշխում </a:t>
            </a:r>
            <a:endParaRPr lang="hy-AM" sz="2000"/>
          </a:p>
        </p:txBody>
      </p:sp>
      <p:cxnSp>
        <p:nvCxnSpPr>
          <p:cNvPr id="24" name="Straight Connector 23"/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5735320" y="1362075"/>
            <a:ext cx="0" cy="4920572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5667197" y="3351167"/>
            <a:ext cx="526001" cy="942388"/>
            <a:chOff x="5361031" y="3297892"/>
            <a:chExt cx="526001" cy="942388"/>
          </a:xfrm>
        </p:grpSpPr>
        <p:sp>
          <p:nvSpPr>
            <p:cNvPr id="26" name="Chevron 25"/>
            <p:cNvSpPr/>
            <p:nvPr/>
          </p:nvSpPr>
          <p:spPr>
            <a:xfrm>
              <a:off x="5361031" y="3400626"/>
              <a:ext cx="296527" cy="736920"/>
            </a:xfrm>
            <a:prstGeom prst="chevron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  <p:sp>
          <p:nvSpPr>
            <p:cNvPr id="27" name="Chevron 26"/>
            <p:cNvSpPr/>
            <p:nvPr/>
          </p:nvSpPr>
          <p:spPr>
            <a:xfrm>
              <a:off x="5540310" y="3297892"/>
              <a:ext cx="346722" cy="942388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8887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4770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3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8" name="Rectangle 6"/>
          <p:cNvSpPr txBox="1">
            <a:spLocks/>
          </p:cNvSpPr>
          <p:nvPr>
            <p:custDataLst>
              <p:tags r:id="rId4"/>
            </p:custDataLst>
          </p:nvPr>
        </p:nvSpPr>
        <p:spPr bwMode="ltGray">
          <a:xfrm>
            <a:off x="312192" y="2469367"/>
            <a:ext cx="155978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solidFill>
                  <a:schemeClr val="accent3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mtClean="0">
                <a:solidFill>
                  <a:schemeClr val="accent2"/>
                </a:solidFill>
              </a:rPr>
              <a:t>Կենսունակ ծառայությունների և պրոդուկտների առաջարկի չափանիշները</a:t>
            </a:r>
            <a:endParaRPr lang="hy-AM">
              <a:solidFill>
                <a:schemeClr val="accent2"/>
              </a:solidFill>
            </a:endParaRPr>
          </a:p>
        </p:txBody>
      </p:sp>
      <p:cxnSp>
        <p:nvCxnSpPr>
          <p:cNvPr id="19" name="Straight Connector 18"/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1986280" y="1363297"/>
            <a:ext cx="0" cy="3907863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 bwMode="ltGray">
          <a:xfrm>
            <a:off x="566056" y="93630"/>
            <a:ext cx="6773295" cy="738664"/>
          </a:xfrm>
        </p:spPr>
        <p:txBody>
          <a:bodyPr/>
          <a:lstStyle/>
          <a:p>
            <a:r>
              <a:rPr lang="hy-AM" sz="1600" smtClean="0"/>
              <a:t>Տեղական ավիափոխադրողները պետք է համապատասխանեն անվտանգության միջազգային բարձր չափանիշներին և կարողանան հուսալի չվացուցակ առաջարկել </a:t>
            </a:r>
            <a:endParaRPr lang="hy-AM" sz="1600"/>
          </a:p>
        </p:txBody>
      </p:sp>
      <p:sp>
        <p:nvSpPr>
          <p:cNvPr id="14" name="Rectangle 6"/>
          <p:cNvSpPr txBox="1"/>
          <p:nvPr/>
        </p:nvSpPr>
        <p:spPr bwMode="ltGray">
          <a:xfrm>
            <a:off x="174944" y="235010"/>
            <a:ext cx="2744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3600" b="1" smtClean="0">
                <a:solidFill>
                  <a:schemeClr val="accent2"/>
                </a:solidFill>
              </a:rPr>
              <a:t>2</a:t>
            </a:r>
            <a:endParaRPr lang="hy-AM" sz="3600" b="1">
              <a:solidFill>
                <a:schemeClr val="accent2"/>
              </a:solidFill>
            </a:endParaRPr>
          </a:p>
        </p:txBody>
      </p:sp>
      <p:sp>
        <p:nvSpPr>
          <p:cNvPr id="16" name="McK 4. Footnote"/>
          <p:cNvSpPr txBox="1">
            <a:spLocks noChangeArrowheads="1"/>
          </p:cNvSpPr>
          <p:nvPr/>
        </p:nvSpPr>
        <p:spPr bwMode="ltGray">
          <a:xfrm>
            <a:off x="174944" y="6088581"/>
            <a:ext cx="87941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dirty="0" smtClean="0">
                <a:latin typeface="Sylfaen" pitchFamily="18" charset="0"/>
              </a:rPr>
              <a:t>1. Թռիչքային պիտանիության վերաբերյալ ԵՄ օրենսդրությունը և Օդային օպերատորի վկայականը պաշտոնապես կիրառվում են ՔԱԳՎ հետ ԵՄ </a:t>
            </a:r>
            <a:r>
              <a:rPr lang="en-US" dirty="0" smtClean="0">
                <a:latin typeface="Sylfaen" pitchFamily="18" charset="0"/>
              </a:rPr>
              <a:t> </a:t>
            </a:r>
            <a:r>
              <a:rPr lang="hy-AM" dirty="0" smtClean="0">
                <a:latin typeface="Sylfaen" pitchFamily="18" charset="0"/>
              </a:rPr>
              <a:t>թվինինգային ծրագրի շրջանակներում: </a:t>
            </a:r>
          </a:p>
          <a:p>
            <a:r>
              <a:rPr lang="hy-AM" dirty="0" smtClean="0">
                <a:latin typeface="Sylfaen" pitchFamily="18" charset="0"/>
              </a:rPr>
              <a:t>2 Տեխսպասարկում, վերանորոգում և շախագործում  </a:t>
            </a:r>
            <a:endParaRPr lang="hy-AM" dirty="0">
              <a:latin typeface="Sylfaen" pitchFamily="18" charset="0"/>
            </a:endParaRPr>
          </a:p>
        </p:txBody>
      </p:sp>
      <p:sp>
        <p:nvSpPr>
          <p:cNvPr id="17" name="Rectangle 6"/>
          <p:cNvSpPr txBox="1"/>
          <p:nvPr>
            <p:custDataLst>
              <p:tags r:id="rId6"/>
            </p:custDataLst>
          </p:nvPr>
        </p:nvSpPr>
        <p:spPr bwMode="ltGray">
          <a:xfrm>
            <a:off x="2253676" y="1387020"/>
            <a:ext cx="5742067" cy="4632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hy-AM" sz="1400" b="1" dirty="0" smtClean="0"/>
              <a:t>Շահագործման հուսալի ծրագիր </a:t>
            </a:r>
            <a:r>
              <a:rPr lang="hy-AM" sz="1400" dirty="0" smtClean="0"/>
              <a:t>(ուղղությունների ցանց, չվերթների հաճախականություն, ուղևորների քանակ, սակագներ, տեղաբաշխման ուղիներ)</a:t>
            </a:r>
          </a:p>
          <a:p>
            <a:pPr lvl="1">
              <a:spcBef>
                <a:spcPct val="10000"/>
              </a:spcBef>
            </a:pPr>
            <a:r>
              <a:rPr lang="hy-AM" sz="1400" b="1" dirty="0" smtClean="0"/>
              <a:t>Առաջարկվող չվացուցակին համապատասխանող շարժակազմ, </a:t>
            </a:r>
            <a:r>
              <a:rPr lang="hy-AM" sz="1400" dirty="0" smtClean="0">
                <a:solidFill>
                  <a:schemeClr val="accent2"/>
                </a:solidFill>
                <a:latin typeface="Sylfaen" pitchFamily="18" charset="0"/>
              </a:rPr>
              <a:t>ընդ որում մեկ օդանավի թռիչքների սահմանված ժամաքանակը չպետք է գերազանցի 3300 ժամը</a:t>
            </a:r>
            <a:r>
              <a:rPr lang="hy-AM" sz="1400" dirty="0" smtClean="0">
                <a:latin typeface="Sylfaen" pitchFamily="18" charset="0"/>
              </a:rPr>
              <a:t> </a:t>
            </a:r>
            <a:r>
              <a:rPr lang="hy-AM" sz="1400" dirty="0" smtClean="0">
                <a:solidFill>
                  <a:schemeClr val="accent2"/>
                </a:solidFill>
                <a:latin typeface="Sylfaen" pitchFamily="18" charset="0"/>
              </a:rPr>
              <a:t>բյուջետային ավիափոխադրողների դեպքում և 2500 </a:t>
            </a:r>
            <a:r>
              <a:rPr lang="hy-AM" sz="1400" dirty="0" smtClean="0">
                <a:solidFill>
                  <a:schemeClr val="accent2"/>
                </a:solidFill>
              </a:rPr>
              <a:t>ժամը խոշոր</a:t>
            </a:r>
            <a:r>
              <a:rPr lang="hy-AM" sz="1400" dirty="0" smtClean="0">
                <a:solidFill>
                  <a:srgbClr val="FF0000"/>
                </a:solidFill>
              </a:rPr>
              <a:t> </a:t>
            </a:r>
            <a:r>
              <a:rPr lang="hy-AM" sz="1400" dirty="0" smtClean="0">
                <a:solidFill>
                  <a:schemeClr val="accent2"/>
                </a:solidFill>
              </a:rPr>
              <a:t>բազմապրոֆիլային ավիաընկերությունների դեպքում </a:t>
            </a:r>
          </a:p>
          <a:p>
            <a:pPr lvl="1">
              <a:spcBef>
                <a:spcPct val="10000"/>
              </a:spcBef>
            </a:pPr>
            <a:r>
              <a:rPr lang="hy-AM" sz="1400" b="1" dirty="0" smtClean="0"/>
              <a:t>Հուսալիության միջազգային չափանիշներին </a:t>
            </a:r>
            <a:r>
              <a:rPr lang="hy-AM" sz="1400" dirty="0" smtClean="0"/>
              <a:t>համապատասխանելու ունակություն </a:t>
            </a:r>
            <a:endParaRPr lang="hy-AM" sz="1400" b="1" dirty="0" smtClean="0"/>
          </a:p>
          <a:p>
            <a:pPr lvl="2">
              <a:spcBef>
                <a:spcPct val="5000"/>
              </a:spcBef>
            </a:pPr>
            <a:r>
              <a:rPr lang="hy-AM" sz="1400" dirty="0" smtClean="0">
                <a:solidFill>
                  <a:schemeClr val="accent2"/>
                </a:solidFill>
              </a:rPr>
              <a:t>Չվերթների ժամանակին իրականացման</a:t>
            </a:r>
            <a:r>
              <a:rPr lang="hy-AM" sz="1400" dirty="0" smtClean="0">
                <a:solidFill>
                  <a:srgbClr val="FF0000"/>
                </a:solidFill>
                <a:latin typeface="Sylfaen"/>
              </a:rPr>
              <a:t>` </a:t>
            </a:r>
            <a:r>
              <a:rPr lang="hy-AM" sz="1400" dirty="0" smtClean="0">
                <a:solidFill>
                  <a:schemeClr val="accent2"/>
                </a:solidFill>
                <a:latin typeface="Sylfaen" pitchFamily="18" charset="0"/>
              </a:rPr>
              <a:t>97%</a:t>
            </a:r>
            <a:r>
              <a:rPr lang="hy-AM" sz="1400" dirty="0" smtClean="0">
                <a:solidFill>
                  <a:schemeClr val="accent2"/>
                </a:solidFill>
              </a:rPr>
              <a:t>-ից բարձր կատարողական </a:t>
            </a:r>
          </a:p>
          <a:p>
            <a:pPr lvl="2">
              <a:spcBef>
                <a:spcPct val="5000"/>
              </a:spcBef>
            </a:pPr>
            <a:r>
              <a:rPr lang="hy-AM" sz="1400" dirty="0" smtClean="0">
                <a:solidFill>
                  <a:schemeClr val="accent2"/>
                </a:solidFill>
              </a:rPr>
              <a:t>Չվացուցակից առավելագույնը </a:t>
            </a:r>
            <a:r>
              <a:rPr lang="hy-AM" sz="1400" dirty="0" smtClean="0">
                <a:solidFill>
                  <a:schemeClr val="accent2"/>
                </a:solidFill>
                <a:latin typeface="Sylfaen" pitchFamily="18" charset="0"/>
              </a:rPr>
              <a:t>15 </a:t>
            </a:r>
            <a:r>
              <a:rPr lang="hy-AM" sz="1400" dirty="0" smtClean="0">
                <a:solidFill>
                  <a:schemeClr val="accent2"/>
                </a:solidFill>
              </a:rPr>
              <a:t>րոպե շեղումով ժամանումներ՝ </a:t>
            </a:r>
            <a:r>
              <a:rPr lang="hy-AM" sz="1400" dirty="0" smtClean="0">
                <a:solidFill>
                  <a:schemeClr val="accent2"/>
                </a:solidFill>
                <a:latin typeface="Sylfaen" pitchFamily="18" charset="0"/>
              </a:rPr>
              <a:t>75%</a:t>
            </a:r>
          </a:p>
          <a:p>
            <a:pPr lvl="1">
              <a:spcBef>
                <a:spcPct val="10000"/>
              </a:spcBef>
            </a:pPr>
            <a:r>
              <a:rPr lang="hy-AM" sz="1400" b="1" dirty="0" smtClean="0"/>
              <a:t>Բավարար  պահեստային շարժակազմ </a:t>
            </a:r>
            <a:r>
              <a:rPr lang="hy-AM" sz="1400" dirty="0" smtClean="0"/>
              <a:t>ուշացումների և սեզոնային ծանրաբեռնվածության դեպքում սպասարկում ապահովելու նպատակով (կարելի է ապահովել «թաց» լիզինգի կամ կարճաժամկետ վարձակալության միջոցով)</a:t>
            </a:r>
          </a:p>
          <a:p>
            <a:pPr lvl="1">
              <a:spcBef>
                <a:spcPct val="10000"/>
              </a:spcBef>
            </a:pPr>
            <a:r>
              <a:rPr lang="hy-AM" sz="1400" b="1" dirty="0" smtClean="0"/>
              <a:t>Պահեստամասերի արագ ձեռքբերում </a:t>
            </a:r>
            <a:r>
              <a:rPr lang="hy-AM" sz="1400" dirty="0" smtClean="0"/>
              <a:t>(կարելի է ապահովել տեխսպասարկման, վերանորոգման և շահագործման պայմանագրի</a:t>
            </a:r>
            <a:r>
              <a:rPr lang="hy-AM" sz="1400" baseline="30000" dirty="0" smtClean="0">
                <a:latin typeface="Sylfaen" pitchFamily="18" charset="0"/>
              </a:rPr>
              <a:t>2</a:t>
            </a:r>
            <a:r>
              <a:rPr lang="hy-AM" sz="1400" dirty="0" smtClean="0"/>
              <a:t> միջոցով)</a:t>
            </a:r>
            <a:endParaRPr lang="hy-AM" sz="1400" dirty="0"/>
          </a:p>
        </p:txBody>
      </p:sp>
    </p:spTree>
    <p:extLst>
      <p:ext uri="{BB962C8B-B14F-4D97-AF65-F5344CB8AC3E}">
        <p14:creationId xmlns:p14="http://schemas.microsoft.com/office/powerpoint/2010/main" val="9490507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2.61477363519000060000E+000&quot;&gt;&lt;m_ppcolschidx val=&quot;0&quot;/&gt;&lt;m_rgb r=&quot;aa&quot; g=&quot;aa&quot; b=&quot;aa&quot;/&gt;&lt;/elem&gt;&lt;elem m_fUsage=&quot;1.89999999999999990000E+000&quot;&gt;&lt;m_ppcolschidx val=&quot;0&quot;/&gt;&lt;m_rgb r=&quot;dd&quot; g=&quot;dd&quot; b=&quot;dd&quot;/&gt;&lt;/elem&gt;&lt;elem m_fUsage=&quot;1.40049000000000000000E+000&quot;&gt;&lt;m_ppcolschidx val=&quot;0&quot;/&gt;&lt;m_rgb r=&quot;0&quot; g=&quot;29&quot; b=&quot;60&quot;/&gt;&lt;/elem&gt;&lt;elem m_fUsage=&quot;1.26044100000000010000E+000&quot;&gt;&lt;m_ppcolschidx val=&quot;0&quot;/&gt;&lt;m_rgb r=&quot;13&quot; g=&quot;76&quot; b=&quot;e&quot;/&gt;&lt;/elem&gt;&lt;elem m_fUsage=&quot;5.36616119313900080000E-001&quot;&gt;&lt;m_ppcolschidx val=&quot;0&quot;/&gt;&lt;m_rgb r=&quot;cc&quot; g=&quot;0&quot; b=&quot;99&quot;/&gt;&lt;/elem&gt;&lt;/m_vecMRU&gt;&lt;/m_mruColor&gt;&lt;m_mapectfillschemeMRU&gt;&lt;key val=&quot;0&quot;/&gt;&lt;elem&gt;&lt;m_nPartnerID val=&quot;536&quot;/&gt;&lt;m_nIndex val=&quot;1&quot;/&gt;&lt;/elem&gt;&lt;key val=&quot;3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790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pZUvrC4EuWSofMS9jU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5so04KRUCLClFQWgeQo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SUWnmhEUSBMdHaXAS7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dQbqVo9UCKwvX.Pv0Rb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LgyGmtPEuCWv5lRmols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cCqZQvyEiI71RdUvzy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gDgt4.iUeqbyLCv9eHW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OXKeCjEi_ksEdG0s8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1MgSsRmEeK3_Hm0ebW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YT1EHVfUOKryi9rJWAv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MKBxDIjUGfFeAyVf_X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1nSGAfhkCfByBeJ6J_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gYfekTT0qSLXlGAnvJZ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JAYU4Za0S_sqk99jLnA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qSjghZF0qEafLFm39gg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AxIPfNPUGu42joFI5b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ivd7wPxE6t8fhnVQmVR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.AfXOGJ0CM7R0KUCk.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y6X69SiEiqgGHk3ZTP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ncPN_1A0ienZ.EXwvt9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kQjvkgm0OLmFitBhNy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NHoZ3zoUyOaTOpvVnd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44Q0InZ0qNWtypSwD0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CBt1smh0ObqzgdjgDTX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KqCnML.EidlazczbcZ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I8nwkM9kSbDv1qdlnm_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ZoRFlRo0esz98PIaHjs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8wFz8q5ykO83VStOrtzu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NN6_y6QEivvxlgcfx9D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F8ESQ9k0qWmnVBMHJ2_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IEppEOdEWquk3AGrbOv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IjsUTPWUyGGlTg7Xwu6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kzeWk4qU62jG_By3ID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ICJKlFk.ZBpK2lgSt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fyqNfIESFDV48yP8yF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T1mmx1.0ulTVpV8fez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W2FiRTMkSPgaHsVv5T9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549usy9kGKNvBwM.0H5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UWwaE1kqZC6u2mkrLx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nnDLvwkSCHO2lXIbS8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i.iwAy00S7xjTefqd55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P0lH9J0kaTP8ayZp1HW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YUcsGJw0GMy0h_xQF_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ykt8aUqkSVsSOrJfHx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5mkCexWUKZ2MFAiqbB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zn0ws1Y0Ck4OP4YPZj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BR0AG4fkeH2HWLjM.64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k1jldtUa6uJaLjAUOn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gnZJghVkGir7sKI2PaK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A_XY6pMUON961vGdhOI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tvPO_c30W5D_Gvmrzwy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Mn_F3IrkSHQQ8dZ10f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5BEsGYvUyvdIkzyeoiI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yWdMgIcEOtp_wDsHyU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u8otrp6EGrw52RAkSr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fWjqvPjE6YIJWff5Xl7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lj670fkS8McgCSqQJU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k6nWw5H06D9y3YKE2wx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W6twR9v0qMJgXqGIGpN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_cxziJuEW02KwkpkFmC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MmRTgGUqOFtUL7pSa.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YXD0yRrUSQ3H24NRcif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pMVjCXDk.s.fyPVutVF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VJmuSTUKjK6MCOfJo4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lj670fkS8McgCSqQJ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W6twR9v0qMJgXqGIGpN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Vj40nsZkiunYHr.pZL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oM58_WUGTagGii384e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BPS3uvzkyUnTFxInZyp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eYR6L3zEyO7DtK56age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OEk4Jz1ECgHtBkTVTfh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1xTvdN0EmZGCTs0gyyV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D_xppw5kSIxPEVY7yFZ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GRQlKNFU62dfiKe2LA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LJIKKPf0eXdWqsrUExD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al7cDQ6027TAkLZ1SOJ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2vozmC2kOpqwWPsQxY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d5FD6U8EufdvI2oOYf5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l6UmQVdEehDyGU_TiId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eByrwiDUSDkcrDJMTt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ZW3ECSg0KcwA8Evg4fU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awxbGqUKiUpeTfK43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al7cDQ6027TAkLZ1SOJ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2vozmC2kOpqwWPsQxY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d5FD6U8EufdvI2oOYf5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GWhu5P3U27E9kT9T_hB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NI6itNo0m1FVmLcJzMP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0p.hCejUKeegT_uYeOg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_geDMAFkeyVOrvFnNQh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aOlcwV20KoQcqdZb..Z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9XqP7zlk._SgnlC7Q_q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9ORPoUqEilod5w5pxY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Fj5VATqUeC9YFHyWVAx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6MeTlUEevBhn7A5XKk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rlpvpaEyIZ.AiHkbrU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USvOI.mUC8qQitpMXN6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n0s5nAk2BH9KIoUN0p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l6UmQVdEehDyGU_TiI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HdDGIerEqWGLUCPUILL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sV71a0kKWl_yN8QRfw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awxbGqUKiUpeTfK43x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al7cDQ6027TAkLZ1SOJ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ZW3ECSg0KcwA8Evg4fU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awxbGqUKiUpeTfK43x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lIsMWA30W9qIQchfeIh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lIsMWA30W9qIQchfeIh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LR9aBFDECa4oI1gJfCl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ZW3ECSg0KcwA8Evg4fU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awxbGqUKiUpeTfK43x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LR9aBFDECa4oI1gJfCl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lIsMWA30W9qIQchfeI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uuWF5TT0mzFxfTGNt0d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lIsMWA30W9qIQchfeIh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.xeFTk5EiW7cDNgt2e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L1Ty6M_UiMFZYjI6AMj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MO1xr3EGVU8BR6ERNA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8D2rEwKUqwAK7X3BgDV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R5dIEBzGakuI5kQaGInh6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R1ZYWj4EinYUg8Q3bz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2QNsEZAUGigS7oUyeTi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hskO8T3kiVLhq7Odp6t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TZ6cRGv0O6dUPJbbZzj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TfMB1b9k6_SPcu5qnFa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x2CD4vTEKEUXSUVTFCL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9KdvCKM0y6KGKxVhLx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M99QHs6kuQeula4vDf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pUwEeVq0u99Ss2AORzN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YPLJVQEKNYxDt5YJgL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mnK9CCc0qan_MAdKI9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QEUFCxRUqnPQSOY_vt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N68AMZM0C2gtcqIU1Ee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a34P.NCki5KuyK.v_3_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eXw3xYLEaW8Khp7Ft8A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oWoFE820CzmjUXxUWON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X1rWg90GI3CO_N_Zcm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g.RAYPC0exiOX8JyLSH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VVaoT_SUyFPiiKCOlN7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6HHUeUSE6AhMRNwNb_V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l3ubNbo0azIQUYj2mj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DeVXOqWUCwmiXqjT43D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7AdWGxokKH6caVWv3J4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X_1DrU8UuMl98HLH__e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ooiFlAn0iMrw42gWcPR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fuWN51ikmqSSPrKxSng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C2VyBMnEaqcB3G1aacQ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61MpjC_U6KfmyGrB9Ue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U.z20f6UqopwfFNHLpa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Mt_Ic_DkirUhjYLgPv9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TYT7sgTk2xEolX20Cw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7z90ZyCUmKL52okBm7D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jeLkLoXk25qGpH4uHXH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QiEWtJEyrAM9JU8Ze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9_DgKlKkaKuPEGn_8V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imK8GujU23bD_J9xdT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AK48nVOU.PMz9c2Tj6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1yT5dTn0KfU5Q6F1Yy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7Prqfiq0SaqzcOs1Ew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GR199sUS98OmBWS1I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kH3lfeWEu.rxlGQmFi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UZa8qvk.o0yX8THD8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IczxDb06uPJvpCOaP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2pOmjEH0mTTvxs5I0g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xNarxckmdxsMf9Pl2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uUu.JZUeG8dfV3GTf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S_pB2qkGGFIAfn2p7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pXfZfloEWLHSeEaTTP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wMmQB2oU2WPbFiiVjr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kcVzJXqECWQumzAfPW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xYoBSnN0OhaeVV3JkF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Z5CgVZ4UOG3kgypCdd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Wl7W8o60iGK5paSCRn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d0g5G3GUWIqSolrzoF9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tGXUSTky3xbl46oq.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Y4Oj5rWUeIH1brm9qZ_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Ll0HkfcU.xhLHduv.9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PcjtLBe0KJ5P0PSqZb0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Oo4rFFUqUtvPDrP9t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zw3ZSIRUebUJEsCbo7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4x72RAqEyoZm_eQDsV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6DGKnUKEegTaMNBzjt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QHEk921Eq7.7.QTpRf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Gf9xUQkOQNGV2vIFI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Zp1cunfEKGiqwGrCmx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FurmbrO06rXrfzScZE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lj670fkS8McgCSqQJ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W6twR9v0qMJgXqGIGp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uJC1Ub6UqxJomECFPC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fxip3QykmxRnLplhgE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vU4.aD3kGaiyI2ohYCt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s5qaaqr0SWX_Sgzqs8A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fq1t31ZUSLWXJhKWUL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VJmuSTUKjK6MCOfJo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CQ2toiUCUOFuD4Gmp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pATErF30aKh2a_UiDm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vi8EArUyI1MfKjOVs9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yOqlSETE.IV2Kdnk6X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ZSDnIfBUqsGxFZ7i2U7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YVvfVApUKf6shMuz26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wZMLmyGkmlb_.i_S3r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oYj9YYLUilNhHMjDIf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NzC4U4Zk6v2Dl3D4tnw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BuqlwcbE.kklhbpgoH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tawGqg1UGD0_WIQ0km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EiZVFEYUivzZz1Ix_1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zalS8VEEagDvPHEHnu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JNAVFqukuqb6MVbyKV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w33iCQLkWbhcE9xsyal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yNWBZT0SarZhc0NGh9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NnCj2gn0aqc1SssOEZL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sVTSe6E6H2r_0Gath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0F.623EaDRHWqFDR25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el_OBssEypFth9Hp40p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v65sO8UOCTVLAytnN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65m25GekqOATNVLoQS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VarO_dY06VSEEfPgiF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SIfdlH0avgiS2xlYZ8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_Bk0RlC0SZ85.s7bO0t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lPPuc4QE.9lhmM_njT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6UEHbWVEut6I5gEvWz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b2dNxeaEmdFDbPf8mRA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Rua6JDzkCVNIwCH0hQ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34DwTVx0G_OWWXEWDv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N29KW90Cbkm8y7cMr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.eWT0km06PLfexApfcQw"/>
</p:tagLst>
</file>

<file path=ppt/theme/theme1.xml><?xml version="1.0" encoding="utf-8"?>
<a:theme xmlns:a="http://schemas.openxmlformats.org/drawingml/2006/main" name="ATTSU331[1]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FF8D28"/>
      </a:accent2>
      <a:accent3>
        <a:srgbClr val="0077B2"/>
      </a:accent3>
      <a:accent4>
        <a:srgbClr val="D11F25"/>
      </a:accent4>
      <a:accent5>
        <a:srgbClr val="DBA215"/>
      </a:accent5>
      <a:accent6>
        <a:srgbClr val="808080"/>
      </a:accent6>
      <a:hlink>
        <a:srgbClr val="0077B2"/>
      </a:hlink>
      <a:folHlink>
        <a:srgbClr val="D11F25"/>
      </a:folHlink>
    </a:clrScheme>
    <a:fontScheme name="Custom 101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8D8D8"/>
        </a:accent1>
        <a:accent2>
          <a:srgbClr val="FF8D28"/>
        </a:accent2>
        <a:accent3>
          <a:srgbClr val="0077B2"/>
        </a:accent3>
        <a:accent4>
          <a:srgbClr val="D11F25"/>
        </a:accent4>
        <a:accent5>
          <a:srgbClr val="DBA215"/>
        </a:accent5>
        <a:accent6>
          <a:srgbClr val="808080"/>
        </a:accent6>
        <a:hlink>
          <a:srgbClr val="0077B2"/>
        </a:hlink>
        <a:folHlink>
          <a:srgbClr val="D11F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TSU331[1]</Template>
  <TotalTime>974</TotalTime>
  <Words>1517</Words>
  <Application>Microsoft Macintosh PowerPoint</Application>
  <PresentationFormat>On-screen Show (4:3)</PresentationFormat>
  <Paragraphs>295</Paragraphs>
  <Slides>1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ATTSU331[1]</vt:lpstr>
      <vt:lpstr>think-cell Slide</vt:lpstr>
      <vt:lpstr>Chart</vt:lpstr>
      <vt:lpstr>Հավելված 3  ՀՀ կառավարության 2013 թվականի  - հոկտեմբերի -ի N - որոշման </vt:lpstr>
      <vt:lpstr>Սույն փաստաթուղթը եզրակացություններն ուղեկցող հիմնավորող փաստաթղթերից մեկն է:  </vt:lpstr>
      <vt:lpstr>Ավիափոխադրումների ոլորտն ընդհանուր առմամբ վնասատար է. տեղական ավիափոխադրողը կարող է գոյատևել միայն գործունեության ճիշտ կազմակերպման դեպքում </vt:lpstr>
      <vt:lpstr>Լիցենզավորման գործընթացը հիմնված կլինի մի քանի կարևոր սկզբունքների վրա</vt:lpstr>
      <vt:lpstr>Գնահատումն իրականացվում է գործարար առաջարկի համապարփակ ուսումնասիրության հիման վրա</vt:lpstr>
      <vt:lpstr>Որոշում կայացնելու չափանիշները հիմնված են 3 հիմնական նպատակների վրա</vt:lpstr>
      <vt:lpstr>Սնանկության ցածր ռիսկով կայուն գործունեության ապահովման համար բավարար կապիտալի պահանջ</vt:lpstr>
      <vt:lpstr>Սկզբնական ծախսերի բաշխումը թույլ է տալիս  դասակարգել և տարբերակել գործարար առաջարկները</vt:lpstr>
      <vt:lpstr>Տեղական ավիափոխադրողները պետք է համապատասխանեն անվտանգության միջազգային բարձր չափանիշներին և կարողանան հուսալի չվացուցակ առաջարկել </vt:lpstr>
      <vt:lpstr>Տեղական ավիափոխադրողները պետք է համապատասխանեն անվտանգության միջազգային բարձր չափանիշներին և կարողանան հուսալի չվացուցակ առաջարկել </vt:lpstr>
      <vt:lpstr>Պրոֆեսիոնալ գործունեություն ապահովելու նպատակով անհրաժեշտ վարչակազմակերպական կառուցվածքի օրինակ </vt:lpstr>
      <vt:lpstr>Ստորև ներկայացված ավիաընկերությունները փորձել են արդյունավետություն  ապահովել հիմնականում ապրանքայնացման հաղթահարման և ցածր գների միջոցով: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suring competitive and sustainable airline service provision in Armenia</dc:title>
  <dc:creator>Jishnu AV</dc:creator>
  <cp:lastModifiedBy>Arman Khachaturyan</cp:lastModifiedBy>
  <cp:revision>4208</cp:revision>
  <cp:lastPrinted>2013-09-20T06:47:32Z</cp:lastPrinted>
  <dcterms:created xsi:type="dcterms:W3CDTF">2013-07-18T20:53:59Z</dcterms:created>
  <dcterms:modified xsi:type="dcterms:W3CDTF">2013-10-20T16:0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Jishnu AV</vt:lpwstr>
  </property>
  <property fmtid="{D5CDD505-2E9C-101B-9397-08002B2CF9AE}" pid="11" name="VGCompatibilityCheck Run On ">
    <vt:lpwstr>7/19/2013 2:34:53 AM</vt:lpwstr>
  </property>
  <property fmtid="{D5CDD505-2E9C-101B-9397-08002B2CF9AE}" pid="12" name="Office2010WasSaved">
    <vt:lpwstr>1</vt:lpwstr>
  </property>
</Properties>
</file>